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4"/>
  </p:sldMasterIdLst>
  <p:notesMasterIdLst>
    <p:notesMasterId r:id="rId19"/>
  </p:notesMasterIdLst>
  <p:handoutMasterIdLst>
    <p:handoutMasterId r:id="rId20"/>
  </p:handoutMasterIdLst>
  <p:sldIdLst>
    <p:sldId id="1885" r:id="rId5"/>
    <p:sldId id="1882" r:id="rId6"/>
    <p:sldId id="1875" r:id="rId7"/>
    <p:sldId id="1891" r:id="rId8"/>
    <p:sldId id="1892" r:id="rId9"/>
    <p:sldId id="1899" r:id="rId10"/>
    <p:sldId id="1894" r:id="rId11"/>
    <p:sldId id="1895" r:id="rId12"/>
    <p:sldId id="1893" r:id="rId13"/>
    <p:sldId id="1900" r:id="rId14"/>
    <p:sldId id="1896" r:id="rId15"/>
    <p:sldId id="1898" r:id="rId16"/>
    <p:sldId id="1901" r:id="rId17"/>
    <p:sldId id="1886" r:id="rId18"/>
  </p:sldIdLst>
  <p:sldSz cx="9144000" cy="6858000" type="screen4x3"/>
  <p:notesSz cx="7010400" cy="92233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1B9"/>
    <a:srgbClr val="F79236"/>
    <a:srgbClr val="914060"/>
    <a:srgbClr val="003A60"/>
    <a:srgbClr val="FF9331"/>
    <a:srgbClr val="0092F6"/>
    <a:srgbClr val="B0A345"/>
    <a:srgbClr val="0071BD"/>
    <a:srgbClr val="29A8FF"/>
    <a:srgbClr val="57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38" autoAdjust="0"/>
    <p:restoredTop sz="99856" autoAdjust="0"/>
  </p:normalViewPr>
  <p:slideViewPr>
    <p:cSldViewPr snapToGrid="0" showGuides="1">
      <p:cViewPr>
        <p:scale>
          <a:sx n="100" d="100"/>
          <a:sy n="100" d="100"/>
        </p:scale>
        <p:origin x="322" y="1411"/>
      </p:cViewPr>
      <p:guideLst>
        <p:guide orient="horz" pos="947"/>
        <p:guide orient="horz" pos="3567"/>
        <p:guide orient="horz" pos="4169"/>
        <p:guide orient="horz" pos="860"/>
        <p:guide pos="146"/>
        <p:guide pos="5596"/>
        <p:guide pos="2974"/>
        <p:guide pos="2798"/>
        <p:guide pos="5486"/>
      </p:guideLst>
    </p:cSldViewPr>
  </p:slideViewPr>
  <p:outlineViewPr>
    <p:cViewPr>
      <p:scale>
        <a:sx n="33" d="100"/>
        <a:sy n="33" d="100"/>
      </p:scale>
      <p:origin x="0" y="80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-2070" y="-108"/>
      </p:cViewPr>
      <p:guideLst>
        <p:guide orient="horz" pos="2905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9331"/>
              </a:solidFill>
            </c:spPr>
          </c:dPt>
          <c:dPt>
            <c:idx val="1"/>
            <c:bubble3D val="0"/>
            <c:spPr>
              <a:solidFill>
                <a:srgbClr val="0071BD"/>
              </a:solidFill>
            </c:spPr>
          </c:dPt>
          <c:dPt>
            <c:idx val="2"/>
            <c:bubble3D val="0"/>
            <c:spPr>
              <a:solidFill>
                <a:srgbClr val="FF9331"/>
              </a:solidFill>
            </c:spPr>
          </c:dPt>
          <c:dPt>
            <c:idx val="3"/>
            <c:bubble3D val="0"/>
            <c:spPr>
              <a:solidFill>
                <a:srgbClr val="0071BD"/>
              </a:solidFill>
            </c:spPr>
          </c:dPt>
          <c:dPt>
            <c:idx val="4"/>
            <c:bubble3D val="0"/>
            <c:spPr>
              <a:solidFill>
                <a:srgbClr val="FF9331"/>
              </a:solidFill>
            </c:spPr>
          </c:dPt>
          <c:dPt>
            <c:idx val="5"/>
            <c:bubble3D val="0"/>
            <c:spPr>
              <a:solidFill>
                <a:srgbClr val="0071BD"/>
              </a:solidFill>
            </c:spPr>
          </c:dPt>
          <c:dPt>
            <c:idx val="6"/>
            <c:bubble3D val="0"/>
            <c:spPr>
              <a:solidFill>
                <a:srgbClr val="FF9331"/>
              </a:solidFill>
            </c:spPr>
          </c:dPt>
          <c:dPt>
            <c:idx val="7"/>
            <c:bubble3D val="0"/>
            <c:spPr>
              <a:solidFill>
                <a:srgbClr val="0071BD"/>
              </a:solidFill>
            </c:spPr>
          </c:dPt>
          <c:dLbls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A$2:$A$9</c:f>
              <c:strCache>
                <c:ptCount val="8"/>
                <c:pt idx="0">
                  <c:v>Cat 1</c:v>
                </c:pt>
                <c:pt idx="1">
                  <c:v>Cat 2</c:v>
                </c:pt>
                <c:pt idx="2">
                  <c:v>Cat 3</c:v>
                </c:pt>
                <c:pt idx="3">
                  <c:v>Cat 4</c:v>
                </c:pt>
                <c:pt idx="4">
                  <c:v>Cat 5</c:v>
                </c:pt>
                <c:pt idx="5">
                  <c:v>Cat 6</c:v>
                </c:pt>
                <c:pt idx="6">
                  <c:v>Cat 7</c:v>
                </c:pt>
                <c:pt idx="7">
                  <c:v>Cat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0A345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914060"/>
            </a:solidFill>
            <a:ln>
              <a:noFill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03A6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0092F6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3507840"/>
        <c:axId val="83521920"/>
      </c:barChart>
      <c:catAx>
        <c:axId val="83507840"/>
        <c:scaling>
          <c:orientation val="minMax"/>
        </c:scaling>
        <c:delete val="0"/>
        <c:axPos val="b"/>
        <c:majorTickMark val="out"/>
        <c:minorTickMark val="none"/>
        <c:tickLblPos val="nextTo"/>
        <c:crossAx val="83521920"/>
        <c:crosses val="autoZero"/>
        <c:auto val="1"/>
        <c:lblAlgn val="ctr"/>
        <c:lblOffset val="100"/>
        <c:noMultiLvlLbl val="0"/>
      </c:catAx>
      <c:valAx>
        <c:axId val="835219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835078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FF9331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003A60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0071BD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556992"/>
        <c:axId val="87822720"/>
      </c:lineChart>
      <c:catAx>
        <c:axId val="83556992"/>
        <c:scaling>
          <c:orientation val="minMax"/>
        </c:scaling>
        <c:delete val="0"/>
        <c:axPos val="b"/>
        <c:majorTickMark val="out"/>
        <c:minorTickMark val="none"/>
        <c:tickLblPos val="nextTo"/>
        <c:crossAx val="87822720"/>
        <c:crosses val="autoZero"/>
        <c:auto val="1"/>
        <c:lblAlgn val="ctr"/>
        <c:lblOffset val="100"/>
        <c:noMultiLvlLbl val="0"/>
      </c:catAx>
      <c:valAx>
        <c:axId val="878227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835569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2.2222222222222223E-2"/>
                  <c:y val="-0.129629629629629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A$2:$A$4</c:f>
              <c:strCache>
                <c:ptCount val="3"/>
                <c:pt idx="0">
                  <c:v>Extração</c:v>
                </c:pt>
                <c:pt idx="1">
                  <c:v>Manufatura</c:v>
                </c:pt>
                <c:pt idx="2">
                  <c:v>Serviços</c:v>
                </c:pt>
              </c:strCache>
            </c:strRef>
          </c:cat>
          <c:val>
            <c:numRef>
              <c:f>Plan1!$B$2:$B$4</c:f>
              <c:numCache>
                <c:formatCode>0%</c:formatCode>
                <c:ptCount val="3"/>
                <c:pt idx="0">
                  <c:v>0.05</c:v>
                </c:pt>
                <c:pt idx="1">
                  <c:v>0.69</c:v>
                </c:pt>
                <c:pt idx="2">
                  <c:v>0.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78F666E-DE6A-4124-9A2B-54780538093F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66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1738" y="692150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381500"/>
            <a:ext cx="5607050" cy="414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D46D9F-2F5C-4A36-8603-FF3F8FDCF05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9851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Macintosh%20HD:Users:lawterd:Desktop:Willis_PPT:art:willis_title_logo_wh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21" Type="http://schemas.openxmlformats.org/officeDocument/2006/relationships/image" Target="../media/image3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chart" Target="../charts/chart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chart" Target="../charts/chart2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chart" Target="../charts/chart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Macintosh HD:Users:lawterd:Desktop:Willis_PPT:art:willis_title_logo_wh.png"/>
          <p:cNvPicPr>
            <a:picLocks noChangeAspect="1" noChangeArrowheads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63" y="5314950"/>
            <a:ext cx="183197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9" y="0"/>
            <a:ext cx="9119678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626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E7B799-2E42-4CFC-BD00-8135AA70D2F8}" type="datetimeFigureOut">
              <a:rPr lang="en-US" smtClean="0"/>
              <a:t>10/22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EBD5E7-2616-469D-8681-34182B5422E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415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  <a:ln>
            <a:noFill/>
          </a:ln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38114" y="1500996"/>
            <a:ext cx="8745536" cy="414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rgbClr val="003A60"/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552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852" y="6179975"/>
            <a:ext cx="1009650" cy="43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8299" y="3825875"/>
            <a:ext cx="7027285" cy="1362075"/>
          </a:xfrm>
        </p:spPr>
        <p:txBody>
          <a:bodyPr anchor="t"/>
          <a:lstStyle>
            <a:lvl1pPr algn="l">
              <a:defRPr sz="4000" b="1" cap="all">
                <a:solidFill>
                  <a:srgbClr val="9140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8299" y="2325688"/>
            <a:ext cx="702728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003A60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00301"/>
            <a:ext cx="1396691" cy="3387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674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113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/>
          </p:nvPr>
        </p:nvSpPr>
        <p:spPr>
          <a:xfrm>
            <a:off x="4572000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3818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5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6" name="Content Placeholder 3"/>
          <p:cNvSpPr txBox="1">
            <a:spLocks/>
          </p:cNvSpPr>
          <p:nvPr userDrawn="1"/>
        </p:nvSpPr>
        <p:spPr bwMode="auto">
          <a:xfrm>
            <a:off x="4705350" y="1779588"/>
            <a:ext cx="41783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  <a:p>
            <a:pPr>
              <a:defRPr/>
            </a:pPr>
            <a:endParaRPr lang="en-GB" u="none" dirty="0"/>
          </a:p>
        </p:txBody>
      </p:sp>
      <p:sp>
        <p:nvSpPr>
          <p:cNvPr id="7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223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231775" y="1506538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4705350" y="1506538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5" name="Content Placeholder 2"/>
          <p:cNvSpPr txBox="1">
            <a:spLocks/>
          </p:cNvSpPr>
          <p:nvPr userDrawn="1"/>
        </p:nvSpPr>
        <p:spPr bwMode="auto">
          <a:xfrm>
            <a:off x="231775" y="1804988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6" name="Content Placeholder 3"/>
          <p:cNvSpPr txBox="1">
            <a:spLocks/>
          </p:cNvSpPr>
          <p:nvPr userDrawn="1"/>
        </p:nvSpPr>
        <p:spPr bwMode="auto">
          <a:xfrm>
            <a:off x="4705350" y="1804988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231775" y="3657600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705350" y="3657600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9" name="Content Placeholder 2"/>
          <p:cNvSpPr txBox="1">
            <a:spLocks/>
          </p:cNvSpPr>
          <p:nvPr userDrawn="1"/>
        </p:nvSpPr>
        <p:spPr bwMode="auto">
          <a:xfrm>
            <a:off x="231775" y="3948113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0" name="Content Placeholder 3"/>
          <p:cNvSpPr txBox="1">
            <a:spLocks/>
          </p:cNvSpPr>
          <p:nvPr userDrawn="1"/>
        </p:nvSpPr>
        <p:spPr bwMode="auto">
          <a:xfrm>
            <a:off x="4705350" y="3948113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685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36838228"/>
              </p:ext>
            </p:extLst>
          </p:nvPr>
        </p:nvGraphicFramePr>
        <p:xfrm>
          <a:off x="231775" y="1503363"/>
          <a:ext cx="8651875" cy="15922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30375"/>
                <a:gridCol w="1730375"/>
                <a:gridCol w="1730375"/>
                <a:gridCol w="1730375"/>
                <a:gridCol w="1730375"/>
              </a:tblGrid>
              <a:tr h="318452"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63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22"/>
          <p:cNvSpPr>
            <a:spLocks noChangeShapeType="1"/>
          </p:cNvSpPr>
          <p:nvPr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Line 20"/>
          <p:cNvSpPr>
            <a:spLocks noChangeShapeType="1"/>
          </p:cNvSpPr>
          <p:nvPr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236538" y="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u="none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236538" y="835025"/>
            <a:ext cx="8670925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u="none" dirty="0" smtClean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236538" y="5767388"/>
            <a:ext cx="8670925" cy="381000"/>
            <a:chOff x="75" y="3914"/>
            <a:chExt cx="5385" cy="235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u="none" dirty="0" smtClean="0">
                  <a:solidFill>
                    <a:srgbClr val="132647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9900" indent="-469900" defTabSz="912813">
                <a:tabLst>
                  <a:tab pos="623888" algn="l"/>
                </a:tabLst>
              </a:pPr>
              <a:r>
                <a:rPr lang="en-US" sz="1000" u="none">
                  <a:solidFill>
                    <a:srgbClr val="132647"/>
                  </a:solidFill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82725" y="2195513"/>
            <a:ext cx="4389438" cy="517525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u="none">
                  <a:solidFill>
                    <a:srgbClr val="132647"/>
                  </a:solidFill>
                </a:rPr>
                <a:t>Title</a:t>
              </a:r>
            </a:p>
            <a:p>
              <a:r>
                <a:rPr lang="en-US" sz="1600" u="none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8143875" y="884238"/>
            <a:ext cx="763588" cy="996950"/>
            <a:chOff x="4936" y="176"/>
            <a:chExt cx="481" cy="628"/>
          </a:xfrm>
        </p:grpSpPr>
        <p:sp>
          <p:nvSpPr>
            <p:cNvPr id="1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1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7835900" y="884238"/>
            <a:ext cx="1071563" cy="730250"/>
            <a:chOff x="4750" y="176"/>
            <a:chExt cx="675" cy="460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</p:grpSp>
      <p:grpSp>
        <p:nvGrpSpPr>
          <p:cNvPr id="33" name="McKSticker" hidden="1"/>
          <p:cNvGrpSpPr>
            <a:grpSpLocks/>
          </p:cNvGrpSpPr>
          <p:nvPr/>
        </p:nvGrpSpPr>
        <p:grpSpPr bwMode="auto">
          <a:xfrm>
            <a:off x="7840663" y="884238"/>
            <a:ext cx="1066800" cy="212725"/>
            <a:chOff x="7673880" y="285750"/>
            <a:chExt cx="1066895" cy="212366"/>
          </a:xfrm>
        </p:grpSpPr>
        <p:sp>
          <p:nvSpPr>
            <p:cNvPr id="3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5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077200" y="884238"/>
            <a:ext cx="830263" cy="1306512"/>
            <a:chOff x="6655594" y="273840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8" name="Oval 109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" name="Arc 110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58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64" name="Picture 2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7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8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41624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u="none" dirty="0" smtClean="0"/>
          </a:p>
        </p:txBody>
      </p:sp>
      <p:graphicFrame>
        <p:nvGraphicFramePr>
          <p:cNvPr id="69" name="Chart 68"/>
          <p:cNvGraphicFramePr/>
          <p:nvPr userDrawn="1">
            <p:extLst>
              <p:ext uri="{D42A27DB-BD31-4B8C-83A1-F6EECF244321}">
                <p14:modId xmlns:p14="http://schemas.microsoft.com/office/powerpoint/2010/main" val="1706081408"/>
              </p:ext>
            </p:extLst>
          </p:nvPr>
        </p:nvGraphicFramePr>
        <p:xfrm>
          <a:off x="327422" y="2138363"/>
          <a:ext cx="4012406" cy="267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0" name="Rectangle 69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PI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914060"/>
          </a:solidFill>
          <a:ln w="6350" cap="flat" cmpd="sng" algn="ctr">
            <a:solidFill>
              <a:srgbClr val="914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STACKED COLUMN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2" name="Content Placeholder 3"/>
          <p:cNvSpPr txBox="1">
            <a:spLocks/>
          </p:cNvSpPr>
          <p:nvPr userDrawn="1"/>
        </p:nvSpPr>
        <p:spPr bwMode="auto">
          <a:xfrm>
            <a:off x="4705350" y="1779589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3" name="Chart 72"/>
          <p:cNvGraphicFramePr/>
          <p:nvPr userDrawn="1">
            <p:extLst>
              <p:ext uri="{D42A27DB-BD31-4B8C-83A1-F6EECF244321}">
                <p14:modId xmlns:p14="http://schemas.microsoft.com/office/powerpoint/2010/main" val="2153779701"/>
              </p:ext>
            </p:extLst>
          </p:nvPr>
        </p:nvGraphicFramePr>
        <p:xfrm>
          <a:off x="4721225" y="1822450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4" name="Rectangle 73"/>
          <p:cNvSpPr/>
          <p:nvPr userDrawn="1"/>
        </p:nvSpPr>
        <p:spPr bwMode="auto">
          <a:xfrm>
            <a:off x="4705350" y="3810000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LIN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5" name="Content Placeholder 3"/>
          <p:cNvSpPr txBox="1">
            <a:spLocks/>
          </p:cNvSpPr>
          <p:nvPr userDrawn="1"/>
        </p:nvSpPr>
        <p:spPr bwMode="auto">
          <a:xfrm>
            <a:off x="4705350" y="4083051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6" name="Chart 75"/>
          <p:cNvGraphicFramePr/>
          <p:nvPr userDrawn="1">
            <p:extLst>
              <p:ext uri="{D42A27DB-BD31-4B8C-83A1-F6EECF244321}">
                <p14:modId xmlns:p14="http://schemas.microsoft.com/office/powerpoint/2010/main" val="2236592217"/>
              </p:ext>
            </p:extLst>
          </p:nvPr>
        </p:nvGraphicFramePr>
        <p:xfrm>
          <a:off x="4705350" y="4192588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7" name="Rectangle 76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518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2"/>
          <p:cNvSpPr>
            <a:spLocks noChangeShapeType="1"/>
          </p:cNvSpPr>
          <p:nvPr userDrawn="1"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Line 20"/>
          <p:cNvSpPr>
            <a:spLocks noChangeShapeType="1"/>
          </p:cNvSpPr>
          <p:nvPr userDrawn="1"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>
            <a:stCxn id="12" idx="2"/>
            <a:endCxn id="18" idx="0"/>
          </p:cNvCxnSpPr>
          <p:nvPr userDrawn="1"/>
        </p:nvCxnSpPr>
        <p:spPr bwMode="auto">
          <a:xfrm>
            <a:off x="4609499" y="2509873"/>
            <a:ext cx="0" cy="1654622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ound Single Corner Rectangle 10"/>
          <p:cNvSpPr/>
          <p:nvPr userDrawn="1"/>
        </p:nvSpPr>
        <p:spPr>
          <a:xfrm>
            <a:off x="15239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Client Advocate</a:t>
            </a:r>
            <a:b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</a:br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John Smith</a:t>
            </a:r>
          </a:p>
        </p:txBody>
      </p:sp>
      <p:sp>
        <p:nvSpPr>
          <p:cNvPr id="12" name="Round Single Corner Rectangle 11"/>
          <p:cNvSpPr/>
          <p:nvPr userDrawn="1"/>
        </p:nvSpPr>
        <p:spPr>
          <a:xfrm>
            <a:off x="36194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Steering Board</a:t>
            </a:r>
          </a:p>
        </p:txBody>
      </p:sp>
      <p:sp>
        <p:nvSpPr>
          <p:cNvPr id="13" name="Round Single Corner Rectangle 12"/>
          <p:cNvSpPr/>
          <p:nvPr userDrawn="1"/>
        </p:nvSpPr>
        <p:spPr>
          <a:xfrm>
            <a:off x="5714998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First level (Management)</a:t>
            </a:r>
          </a:p>
        </p:txBody>
      </p:sp>
      <p:sp>
        <p:nvSpPr>
          <p:cNvPr id="14" name="Round Single Corner Rectangle 13"/>
          <p:cNvSpPr/>
          <p:nvPr userDrawn="1"/>
        </p:nvSpPr>
        <p:spPr>
          <a:xfrm>
            <a:off x="15239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smtClean="0"/>
              <a:t>Various teams</a:t>
            </a:r>
            <a:endParaRPr lang="en-GB" sz="1100" u="none" kern="1200" dirty="0"/>
          </a:p>
        </p:txBody>
      </p:sp>
      <p:sp>
        <p:nvSpPr>
          <p:cNvPr id="15" name="Round Single Corner Rectangle 14"/>
          <p:cNvSpPr/>
          <p:nvPr userDrawn="1"/>
        </p:nvSpPr>
        <p:spPr>
          <a:xfrm>
            <a:off x="36194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6" name="Round Single Corner Rectangle 15"/>
          <p:cNvSpPr/>
          <p:nvPr userDrawn="1"/>
        </p:nvSpPr>
        <p:spPr>
          <a:xfrm>
            <a:off x="5714998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7" name="Round Single Corner Rectangle 16"/>
          <p:cNvSpPr/>
          <p:nvPr userDrawn="1"/>
        </p:nvSpPr>
        <p:spPr>
          <a:xfrm>
            <a:off x="15239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8" name="Round Single Corner Rectangle 17"/>
          <p:cNvSpPr/>
          <p:nvPr userDrawn="1"/>
        </p:nvSpPr>
        <p:spPr>
          <a:xfrm>
            <a:off x="36194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9" name="Round Single Corner Rectangle 18"/>
          <p:cNvSpPr/>
          <p:nvPr userDrawn="1"/>
        </p:nvSpPr>
        <p:spPr>
          <a:xfrm>
            <a:off x="5714998" y="4164494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cxnSp>
        <p:nvCxnSpPr>
          <p:cNvPr id="20" name="Elbow Connector 19"/>
          <p:cNvCxnSpPr>
            <a:stCxn id="16" idx="0"/>
            <a:endCxn id="12" idx="2"/>
          </p:cNvCxnSpPr>
          <p:nvPr userDrawn="1"/>
        </p:nvCxnSpPr>
        <p:spPr bwMode="auto">
          <a:xfrm rot="16200000" flipV="1">
            <a:off x="5450966" y="1668406"/>
            <a:ext cx="412566" cy="209549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Elbow Connector 20"/>
          <p:cNvCxnSpPr>
            <a:stCxn id="15" idx="2"/>
            <a:endCxn id="17" idx="0"/>
          </p:cNvCxnSpPr>
          <p:nvPr userDrawn="1"/>
        </p:nvCxnSpPr>
        <p:spPr bwMode="auto">
          <a:xfrm rot="5400000">
            <a:off x="3355466" y="2910462"/>
            <a:ext cx="412566" cy="2095500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Elbow Connector 21"/>
          <p:cNvCxnSpPr>
            <a:stCxn id="12" idx="2"/>
            <a:endCxn id="14" idx="0"/>
          </p:cNvCxnSpPr>
          <p:nvPr userDrawn="1"/>
        </p:nvCxnSpPr>
        <p:spPr bwMode="auto">
          <a:xfrm rot="5400000">
            <a:off x="3355466" y="1668406"/>
            <a:ext cx="412566" cy="20955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Elbow Connector 22"/>
          <p:cNvCxnSpPr>
            <a:stCxn id="19" idx="0"/>
            <a:endCxn id="15" idx="2"/>
          </p:cNvCxnSpPr>
          <p:nvPr userDrawn="1"/>
        </p:nvCxnSpPr>
        <p:spPr bwMode="auto">
          <a:xfrm rot="16200000" flipV="1">
            <a:off x="5450967" y="2910462"/>
            <a:ext cx="412565" cy="2095499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23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11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8113" y="1501775"/>
            <a:ext cx="8815387" cy="414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63513" y="-23813"/>
            <a:ext cx="8799512" cy="895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 IN CAPS GOES HE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24839" r:id="rId1"/>
    <p:sldLayoutId id="2147524840" r:id="rId2"/>
    <p:sldLayoutId id="2147524841" r:id="rId3"/>
    <p:sldLayoutId id="2147524842" r:id="rId4"/>
    <p:sldLayoutId id="2147524846" r:id="rId5"/>
    <p:sldLayoutId id="2147524843" r:id="rId6"/>
    <p:sldLayoutId id="2147524844" r:id="rId7"/>
    <p:sldLayoutId id="2147524845" r:id="rId8"/>
    <p:sldLayoutId id="2147524847" r:id="rId9"/>
    <p:sldLayoutId id="2147524848" r:id="rId10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1BD"/>
          </a:solidFill>
          <a:latin typeface="Cambria" panose="02040503050406030204" pitchFamily="18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Font typeface="Wingdings" pitchFamily="2" charset="2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1" fontAlgn="base" hangingPunct="1">
        <a:spcBef>
          <a:spcPct val="70000"/>
        </a:spcBef>
        <a:spcAft>
          <a:spcPct val="0"/>
        </a:spcAft>
        <a:buClr>
          <a:schemeClr val="accent2"/>
        </a:buClr>
        <a:buSzPct val="85000"/>
        <a:buFont typeface="Wingdings" pitchFamily="2" charset="2"/>
        <a:buChar char="n"/>
        <a:defRPr sz="1200" b="1">
          <a:solidFill>
            <a:schemeClr val="bg1">
              <a:lumMod val="50000"/>
            </a:schemeClr>
          </a:solidFill>
          <a:latin typeface="+mn-lt"/>
        </a:defRPr>
      </a:lvl2pPr>
      <a:lvl3pPr marL="623888" indent="-166688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·"/>
        <a:defRPr sz="1200">
          <a:solidFill>
            <a:schemeClr val="bg1">
              <a:lumMod val="50000"/>
            </a:schemeClr>
          </a:solidFill>
          <a:latin typeface="+mn-lt"/>
        </a:defRPr>
      </a:lvl3pPr>
      <a:lvl4pPr marL="914400" indent="-176213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sz="1200">
          <a:solidFill>
            <a:schemeClr val="bg1">
              <a:lumMod val="50000"/>
            </a:schemeClr>
          </a:solidFill>
          <a:latin typeface="+mn-lt"/>
        </a:defRPr>
      </a:lvl4pPr>
      <a:lvl5pPr marL="17732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5pPr>
      <a:lvl6pPr marL="22304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6pPr>
      <a:lvl7pPr marL="26876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7pPr>
      <a:lvl8pPr marL="31448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8pPr>
      <a:lvl9pPr marL="36020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59" y="11875"/>
            <a:ext cx="911968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33"/>
          <a:stretch/>
        </p:blipFill>
        <p:spPr>
          <a:xfrm>
            <a:off x="12159" y="1936750"/>
            <a:ext cx="9119681" cy="49149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2935506"/>
      </p:ext>
    </p:extLst>
  </p:cSld>
  <p:clrMapOvr>
    <a:masterClrMapping/>
  </p:clrMapOvr>
  <p:transition spd="med" advTm="354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ector reto 11"/>
          <p:cNvCxnSpPr>
            <a:stCxn id="4" idx="3"/>
          </p:cNvCxnSpPr>
          <p:nvPr/>
        </p:nvCxnSpPr>
        <p:spPr>
          <a:xfrm flipH="1">
            <a:off x="2" y="3405285"/>
            <a:ext cx="3470460" cy="3452715"/>
          </a:xfrm>
          <a:prstGeom prst="line">
            <a:avLst/>
          </a:prstGeom>
          <a:ln w="57150">
            <a:solidFill>
              <a:srgbClr val="B0A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lipse 3"/>
          <p:cNvSpPr/>
          <p:nvPr/>
        </p:nvSpPr>
        <p:spPr>
          <a:xfrm>
            <a:off x="3027558" y="2310874"/>
            <a:ext cx="3024336" cy="1282182"/>
          </a:xfrm>
          <a:prstGeom prst="ellipse">
            <a:avLst/>
          </a:prstGeom>
          <a:solidFill>
            <a:schemeClr val="accent4">
              <a:lumMod val="90000"/>
              <a:lumOff val="10000"/>
            </a:schemeClr>
          </a:solidFill>
          <a:ln>
            <a:solidFill>
              <a:srgbClr val="B0A34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ctr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en-US" sz="1100" u="none"/>
          </a:p>
        </p:txBody>
      </p:sp>
      <p:cxnSp>
        <p:nvCxnSpPr>
          <p:cNvPr id="7" name="Conector reto 6"/>
          <p:cNvCxnSpPr/>
          <p:nvPr/>
        </p:nvCxnSpPr>
        <p:spPr>
          <a:xfrm flipH="1">
            <a:off x="4496694" y="0"/>
            <a:ext cx="10758" cy="2310874"/>
          </a:xfrm>
          <a:prstGeom prst="line">
            <a:avLst/>
          </a:prstGeom>
          <a:ln w="57150">
            <a:solidFill>
              <a:srgbClr val="B0A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/>
        </p:nvCxnSpPr>
        <p:spPr>
          <a:xfrm>
            <a:off x="5562922" y="3405285"/>
            <a:ext cx="3535010" cy="3506505"/>
          </a:xfrm>
          <a:prstGeom prst="line">
            <a:avLst/>
          </a:prstGeom>
          <a:ln w="57150">
            <a:solidFill>
              <a:srgbClr val="B0A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132750" y="334563"/>
            <a:ext cx="225544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050" b="1" u="none" dirty="0" smtClean="0"/>
              <a:t>Renovaçõ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Auxiliar nas Submissões U/W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Preparação de Documentos/</a:t>
            </a:r>
            <a:r>
              <a:rPr lang="pt-BR" sz="1050" u="none" dirty="0" err="1" smtClean="0">
                <a:solidFill>
                  <a:schemeClr val="accent5">
                    <a:lumMod val="50000"/>
                  </a:schemeClr>
                </a:solidFill>
              </a:rPr>
              <a:t>Slips</a:t>
            </a:r>
            <a:endParaRPr lang="pt-BR" sz="1050" u="none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Colocaç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Gerenciamento da Renovaç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Desenho do programa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en-US" sz="1050" u="none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2299506" y="249924"/>
            <a:ext cx="219718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050" b="1" u="none" dirty="0" smtClean="0"/>
              <a:t>Serviços Diári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Tendências de Mercado e Benchmarking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Consultoria técnica ao </a:t>
            </a:r>
            <a:r>
              <a:rPr lang="pt-BR" sz="1050" u="none" dirty="0" err="1" smtClean="0">
                <a:solidFill>
                  <a:schemeClr val="accent5">
                    <a:lumMod val="50000"/>
                  </a:schemeClr>
                </a:solidFill>
              </a:rPr>
              <a:t>Risk</a:t>
            </a: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 Manage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Revisão do </a:t>
            </a:r>
            <a:r>
              <a:rPr lang="pt-BR" sz="1050" u="none" dirty="0" err="1" smtClean="0">
                <a:solidFill>
                  <a:schemeClr val="accent5">
                    <a:lumMod val="50000"/>
                  </a:schemeClr>
                </a:solidFill>
              </a:rPr>
              <a:t>Wording</a:t>
            </a: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 de apólic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Colocação de apólices locai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Atualização de sistem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Revisão de Contrat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050" u="none" dirty="0" smtClean="0">
                <a:solidFill>
                  <a:schemeClr val="accent5">
                    <a:lumMod val="50000"/>
                  </a:schemeClr>
                </a:solidFill>
              </a:rPr>
              <a:t>Visitas aos sites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en-US" sz="1050" u="none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160706" y="1670032"/>
            <a:ext cx="1781324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Pós Renovaç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Documentação Legal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Emissão de Apólic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Emissão de Certificad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latório de Renovação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416089" y="2460544"/>
            <a:ext cx="19442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err="1" smtClean="0"/>
              <a:t>Account</a:t>
            </a:r>
            <a:r>
              <a:rPr lang="pt-BR" sz="1100" b="1" u="none" dirty="0" smtClean="0"/>
              <a:t> Team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Lista de contat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Definição de papéi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Planos de sucess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Gerenciamento de recursos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132750" y="3492837"/>
            <a:ext cx="180928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Consultoria de Risc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nálise de Riscos de Catástrof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visão de congêner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Loss</a:t>
            </a: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Control</a:t>
            </a:r>
            <a:endParaRPr lang="pt-BR" sz="1100" u="none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Modelo de Retenção/Franqui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Inspeções de Riscos &amp; Relatórios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1348216" y="5723139"/>
            <a:ext cx="230425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Internacional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pólices Locai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porte de Sinistr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Manual de Serviços – Manual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lação de Contatos e Visitas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3250757" y="4030897"/>
            <a:ext cx="28011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Gerenciamento de Sinistr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Protocolo de Sinistr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latórios de Perd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nálise de dados de Reclamaçõ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Negociações com Segurador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Manutenção de Estatísticas de Perd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Gerenciamento de sinistros reportad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uniões de revisão de Sinistros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3689850" y="5776929"/>
            <a:ext cx="20882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Tecnologia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Manutenção de Bancos de Dad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Estratégia Web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Suporte de IT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5767324" y="5769452"/>
            <a:ext cx="311849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Gerenciamento da Conta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locaçõ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Cobrança de Prêmios e Impost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companhamento de pagamentos.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uxílio em controles de </a:t>
            </a: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Cashflow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4787538" y="327321"/>
            <a:ext cx="237626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Preparação para Renovaç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Forecast de Sinistr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Estatísticas de evolução de sinistr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tualização de informações e Questionário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Atualização de banco de dados de exposiçõ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Desenho do programa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7319062" y="401587"/>
            <a:ext cx="1619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Comunicação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latórios Gerenciai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uniões Cliente/Corretor/Segurado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Rede da Corretora e Seguradora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6312805" y="2214052"/>
            <a:ext cx="26160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Gerenciamento de Cris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Protocolos para incidentes grave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Gerenciamento de Grandes Sinistros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6917064" y="3279477"/>
            <a:ext cx="176973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100" b="1" u="none" dirty="0" smtClean="0"/>
              <a:t>M&amp;A/Vend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Due</a:t>
            </a: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Diligence</a:t>
            </a:r>
            <a:endParaRPr lang="pt-BR" sz="1100" u="none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Novos Program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Loss</a:t>
            </a: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100" u="none" dirty="0" err="1" smtClean="0">
                <a:solidFill>
                  <a:schemeClr val="accent5">
                    <a:lumMod val="50000"/>
                  </a:schemeClr>
                </a:solidFill>
              </a:rPr>
              <a:t>Control</a:t>
            </a: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 – Visitas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100" u="none" dirty="0" smtClean="0">
                <a:solidFill>
                  <a:schemeClr val="accent5">
                    <a:lumMod val="50000"/>
                  </a:schemeClr>
                </a:solidFill>
              </a:rPr>
              <a:t>Suporte de integração</a:t>
            </a:r>
            <a:endParaRPr lang="en-US" sz="11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428324" y="2630613"/>
            <a:ext cx="2328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200" b="1" u="none" dirty="0" smtClean="0">
                <a:solidFill>
                  <a:schemeClr val="bg1"/>
                </a:solidFill>
              </a:rPr>
              <a:t>Cliente, Corretor e Segurado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200" u="none" dirty="0" smtClean="0">
                <a:solidFill>
                  <a:schemeClr val="bg1"/>
                </a:solidFill>
              </a:rPr>
              <a:t>Identificar e definir Serviços Necessários</a:t>
            </a:r>
            <a:endParaRPr lang="en-US" sz="1200" u="non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70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endências e Linhas de Seguros</a:t>
            </a:r>
            <a:endParaRPr lang="en-US" dirty="0"/>
          </a:p>
        </p:txBody>
      </p:sp>
      <p:sp>
        <p:nvSpPr>
          <p:cNvPr id="6" name="Espaço Reservado para Conteúdo 2"/>
          <p:cNvSpPr txBox="1">
            <a:spLocks/>
          </p:cNvSpPr>
          <p:nvPr/>
        </p:nvSpPr>
        <p:spPr bwMode="auto">
          <a:xfrm>
            <a:off x="4838333" y="1016836"/>
            <a:ext cx="3872752" cy="49251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rgbClr val="003A60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t-BR" sz="1600" u="none" dirty="0" smtClean="0"/>
              <a:t>Linhas de seguro mais utilizadas: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Patrimonial / Lucros Cessantes.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Responsabilidade Civil Geral.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D&amp;O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Transportes</a:t>
            </a:r>
          </a:p>
          <a:p>
            <a:pPr marL="114300" lvl="1" indent="0">
              <a:buClr>
                <a:srgbClr val="B0A345"/>
              </a:buClr>
              <a:buNone/>
            </a:pPr>
            <a:endParaRPr lang="pt-BR" sz="1600" dirty="0" smtClean="0"/>
          </a:p>
          <a:p>
            <a:pPr marL="114300" indent="0"/>
            <a:r>
              <a:rPr lang="pt-BR" sz="1600" u="none" dirty="0" smtClean="0">
                <a:solidFill>
                  <a:srgbClr val="003A60"/>
                </a:solidFill>
              </a:rPr>
              <a:t>Oportunidades em: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E&amp;O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/>
              <a:t>Riscos Ambientais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err="1" smtClean="0"/>
              <a:t>Employment</a:t>
            </a:r>
            <a:r>
              <a:rPr lang="pt-BR" sz="1600" b="0" u="none" dirty="0" smtClean="0"/>
              <a:t> </a:t>
            </a:r>
            <a:r>
              <a:rPr lang="pt-BR" sz="1600" b="0" u="none" dirty="0" err="1" smtClean="0"/>
              <a:t>Practices</a:t>
            </a:r>
            <a:r>
              <a:rPr lang="pt-BR" sz="1600" b="0" u="none" dirty="0" smtClean="0"/>
              <a:t> </a:t>
            </a:r>
            <a:r>
              <a:rPr lang="pt-BR" sz="1600" b="0" u="none" dirty="0" err="1" smtClean="0"/>
              <a:t>Liability</a:t>
            </a:r>
            <a:r>
              <a:rPr lang="pt-BR" sz="1600" b="0" u="none" dirty="0" smtClean="0"/>
              <a:t> – EPL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err="1" smtClean="0"/>
              <a:t>Pooling</a:t>
            </a:r>
            <a:r>
              <a:rPr lang="pt-BR" sz="1600" b="0" u="none" dirty="0" smtClean="0"/>
              <a:t> de Benefícios</a:t>
            </a:r>
          </a:p>
          <a:p>
            <a:pPr lvl="1">
              <a:buFontTx/>
              <a:buChar char="-"/>
            </a:pPr>
            <a:endParaRPr lang="pt-BR" dirty="0"/>
          </a:p>
        </p:txBody>
      </p:sp>
      <p:pic>
        <p:nvPicPr>
          <p:cNvPr id="6146" name="Picture 2" descr="M:\CRIAÇÃO\IMAGENS E VETORES_SHUTTERSTOCK\IMAGENS\DIVERSOS\JPEG\shutterstock_10480768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38" b="6592"/>
          <a:stretch/>
        </p:blipFill>
        <p:spPr bwMode="auto">
          <a:xfrm>
            <a:off x="437729" y="3076575"/>
            <a:ext cx="3385470" cy="302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68102" y="1003718"/>
            <a:ext cx="458677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/>
            <a:r>
              <a:rPr lang="pt-BR" sz="1600" b="1" u="none" dirty="0">
                <a:solidFill>
                  <a:srgbClr val="003A60"/>
                </a:solidFill>
                <a:latin typeface="+mn-lt"/>
                <a:cs typeface="+mn-cs"/>
              </a:rPr>
              <a:t>Data </a:t>
            </a:r>
            <a:r>
              <a:rPr lang="pt-BR" sz="1600" b="1" u="none" dirty="0" err="1" smtClean="0">
                <a:solidFill>
                  <a:srgbClr val="003A60"/>
                </a:solidFill>
                <a:latin typeface="+mn-lt"/>
                <a:cs typeface="+mn-cs"/>
              </a:rPr>
              <a:t>Analytics</a:t>
            </a:r>
            <a:r>
              <a:rPr lang="pt-BR" sz="1600" b="1" u="none" dirty="0" smtClean="0">
                <a:solidFill>
                  <a:srgbClr val="003A60"/>
                </a:solidFill>
                <a:latin typeface="+mn-lt"/>
                <a:cs typeface="+mn-cs"/>
              </a:rPr>
              <a:t>: </a:t>
            </a:r>
            <a:r>
              <a:rPr lang="pt-BR" sz="1600" u="none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suporte </a:t>
            </a:r>
            <a:r>
              <a:rPr lang="pt-BR" sz="1600" u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 tomada de decisão e desenho de programas – Transferência de Riscos Otimizada</a:t>
            </a:r>
          </a:p>
          <a:p>
            <a:pPr marL="342900" algn="just"/>
            <a:endParaRPr lang="pt-BR" sz="1600" u="none" dirty="0">
              <a:solidFill>
                <a:srgbClr val="003A60"/>
              </a:solidFill>
              <a:latin typeface="+mn-lt"/>
              <a:cs typeface="+mn-cs"/>
            </a:endParaRPr>
          </a:p>
          <a:p>
            <a:pPr marL="342900"/>
            <a:r>
              <a:rPr lang="pt-BR" sz="1600" b="1" u="none" dirty="0" smtClean="0">
                <a:solidFill>
                  <a:srgbClr val="003A60"/>
                </a:solidFill>
                <a:latin typeface="+mn-lt"/>
                <a:cs typeface="+mn-cs"/>
              </a:rPr>
              <a:t>Gestão de Riscos: </a:t>
            </a:r>
            <a:r>
              <a:rPr lang="pt-BR" sz="1600" u="none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nspeções </a:t>
            </a:r>
            <a:r>
              <a:rPr lang="pt-BR" sz="1600" u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e Blue</a:t>
            </a:r>
          </a:p>
          <a:p>
            <a:pPr marL="342900" algn="just"/>
            <a:endParaRPr lang="pt-BR" sz="1600" u="none" dirty="0">
              <a:solidFill>
                <a:srgbClr val="003A60"/>
              </a:solidFill>
              <a:latin typeface="+mn-lt"/>
              <a:cs typeface="+mn-cs"/>
            </a:endParaRPr>
          </a:p>
          <a:p>
            <a:pPr marL="342900"/>
            <a:r>
              <a:rPr lang="pt-BR" sz="1600" b="1" u="none" dirty="0" smtClean="0">
                <a:solidFill>
                  <a:srgbClr val="003A60"/>
                </a:solidFill>
                <a:latin typeface="+mn-lt"/>
                <a:cs typeface="+mn-cs"/>
              </a:rPr>
              <a:t>Aquisições: </a:t>
            </a:r>
            <a:r>
              <a:rPr lang="pt-BR" sz="1600" u="none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Equalização </a:t>
            </a:r>
            <a:r>
              <a:rPr lang="pt-BR" sz="1600" u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 política de gerenciamento</a:t>
            </a:r>
          </a:p>
          <a:p>
            <a:pPr marL="342900" algn="just"/>
            <a:endParaRPr lang="en-US" sz="1600" u="none" dirty="0">
              <a:solidFill>
                <a:srgbClr val="003A60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senvolvimento Profissional/Carreira</a:t>
            </a:r>
            <a:endParaRPr lang="en-US" dirty="0"/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11113" y="1608759"/>
            <a:ext cx="5681343" cy="4145742"/>
          </a:xfrm>
        </p:spPr>
        <p:txBody>
          <a:bodyPr/>
          <a:lstStyle/>
          <a:p>
            <a:pPr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Muitas </a:t>
            </a:r>
            <a:r>
              <a:rPr lang="pt-BR" sz="1600" b="0" dirty="0" err="1">
                <a:solidFill>
                  <a:schemeClr val="accent5">
                    <a:lumMod val="50000"/>
                  </a:schemeClr>
                </a:solidFill>
              </a:rPr>
              <a:t>Multilatinas</a:t>
            </a: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 ainda não possuem a figura do </a:t>
            </a:r>
            <a:r>
              <a:rPr lang="pt-BR" sz="1600" b="0" dirty="0" err="1">
                <a:solidFill>
                  <a:schemeClr val="accent5">
                    <a:lumMod val="50000"/>
                  </a:schemeClr>
                </a:solidFill>
              </a:rPr>
              <a:t>Risk</a:t>
            </a: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  <a:t>Manager.</a:t>
            </a:r>
            <a:endParaRPr lang="pt-BR" sz="1600" b="0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  <a:t>Questões </a:t>
            </a: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locais já ocupam todo o tempo do gestor</a:t>
            </a:r>
            <a: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  <a:t>.</a:t>
            </a:r>
            <a:b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</a:br>
            <a:endParaRPr lang="pt-BR" sz="1600" b="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/>
            <a:r>
              <a:rPr lang="pt-BR" sz="1600" dirty="0" smtClean="0">
                <a:solidFill>
                  <a:schemeClr val="accent5">
                    <a:lumMod val="50000"/>
                  </a:schemeClr>
                </a:solidFill>
              </a:rPr>
              <a:t>Hoje, </a:t>
            </a:r>
            <a:r>
              <a:rPr lang="pt-BR" sz="1600" dirty="0">
                <a:solidFill>
                  <a:schemeClr val="accent5">
                    <a:lumMod val="50000"/>
                  </a:schemeClr>
                </a:solidFill>
              </a:rPr>
              <a:t>Corretores e Seguradores no Brasil estão prontos para apoiar seus clientes neste desafio</a:t>
            </a:r>
            <a:r>
              <a:rPr lang="pt-BR" sz="1600" dirty="0" smtClean="0">
                <a:solidFill>
                  <a:schemeClr val="accent5">
                    <a:lumMod val="50000"/>
                  </a:schemeClr>
                </a:solidFill>
              </a:rPr>
              <a:t>!</a:t>
            </a:r>
            <a: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</a:br>
            <a:endParaRPr lang="pt-BR" sz="1600" b="0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Acesso a informações sobre Legislação.</a:t>
            </a:r>
          </a:p>
          <a:p>
            <a:pPr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Elaboração de Estudos sobre potenciais economias e nivelação de cobertura.</a:t>
            </a:r>
          </a:p>
          <a:p>
            <a:pPr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dirty="0">
                <a:solidFill>
                  <a:schemeClr val="accent5">
                    <a:lumMod val="50000"/>
                  </a:schemeClr>
                </a:solidFill>
              </a:rPr>
              <a:t>Treinamentos e Apresentações</a:t>
            </a:r>
            <a:r>
              <a:rPr lang="pt-BR" sz="1600" b="0" dirty="0" smtClean="0">
                <a:solidFill>
                  <a:schemeClr val="accent5">
                    <a:lumMod val="50000"/>
                  </a:schemeClr>
                </a:solidFill>
              </a:rPr>
              <a:t>.</a:t>
            </a:r>
            <a:endParaRPr lang="pt-BR" sz="1600" b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24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/>
            <a:r>
              <a:rPr lang="pt-BR" sz="1800" dirty="0"/>
              <a:t>Oportunidade de carreira e valorização da </a:t>
            </a:r>
            <a:r>
              <a:rPr lang="pt-BR" sz="1800" dirty="0" smtClean="0"/>
              <a:t>atividade!</a:t>
            </a:r>
            <a:endParaRPr lang="pt-BR" sz="1800" dirty="0"/>
          </a:p>
        </p:txBody>
      </p:sp>
      <p:pic>
        <p:nvPicPr>
          <p:cNvPr id="5122" name="Picture 2" descr="M:\CRIAÇÃO\IMAGENS E VETORES_SHUTTERSTOCK\IMAGENS\DIVERSOS\JPEG\shutterstock_7224408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244" y="1353439"/>
            <a:ext cx="3067756" cy="428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ascarettil\Desktop\shutterstock_123491269.jp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4">
                <a:lumMod val="50000"/>
                <a:lumOff val="5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38274" y="-233598"/>
            <a:ext cx="10867000" cy="724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7112" y="3216923"/>
            <a:ext cx="674203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u="none" dirty="0" smtClean="0">
                <a:solidFill>
                  <a:schemeClr val="bg1"/>
                </a:solidFill>
                <a:latin typeface="Museo Sans 700" pitchFamily="50" charset="0"/>
              </a:rPr>
              <a:t>RESILIÊNCIA</a:t>
            </a:r>
          </a:p>
          <a:p>
            <a:pPr algn="ctr"/>
            <a:r>
              <a:rPr lang="pt-BR" sz="2400" u="none" dirty="0" smtClean="0">
                <a:solidFill>
                  <a:schemeClr val="bg1"/>
                </a:solidFill>
                <a:latin typeface="Museo Sans 100" pitchFamily="50" charset="0"/>
              </a:rPr>
              <a:t>É CAPACIDADE DE LIDAR COM A MUDANÇA</a:t>
            </a:r>
            <a:endParaRPr lang="en-US" sz="2400" u="none" dirty="0">
              <a:solidFill>
                <a:schemeClr val="bg1"/>
              </a:solidFill>
              <a:latin typeface="Museo Sans 100" pitchFamily="50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59512" y="4522955"/>
            <a:ext cx="67420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u="none" dirty="0" smtClean="0">
                <a:solidFill>
                  <a:schemeClr val="bg1"/>
                </a:solidFill>
                <a:latin typeface="Museo Sans 700" pitchFamily="50" charset="0"/>
              </a:rPr>
              <a:t>Willis</a:t>
            </a:r>
            <a:r>
              <a:rPr lang="pt-BR" sz="2400" b="1" u="none" dirty="0" smtClean="0">
                <a:solidFill>
                  <a:schemeClr val="bg1"/>
                </a:solidFill>
                <a:latin typeface="Museo Sans 100" pitchFamily="50" charset="0"/>
              </a:rPr>
              <a:t>. </a:t>
            </a:r>
            <a:r>
              <a:rPr lang="pt-BR" sz="2400" u="none" dirty="0" smtClean="0">
                <a:solidFill>
                  <a:schemeClr val="bg1"/>
                </a:solidFill>
                <a:latin typeface="Museo Sans 100" pitchFamily="50" charset="0"/>
              </a:rPr>
              <a:t>Soluções customizadas para construção da resiliência nas organizações</a:t>
            </a:r>
            <a:r>
              <a:rPr lang="pt-BR" sz="2400" b="1" u="none" dirty="0" smtClean="0">
                <a:solidFill>
                  <a:schemeClr val="bg1"/>
                </a:solidFill>
                <a:latin typeface="Museo Sans 100" pitchFamily="50" charset="0"/>
              </a:rPr>
              <a:t>. </a:t>
            </a:r>
            <a:endParaRPr lang="en-US" sz="2400" u="none" dirty="0">
              <a:solidFill>
                <a:schemeClr val="bg1"/>
              </a:solidFill>
              <a:latin typeface="Museo Sans 100" pitchFamily="50" charset="0"/>
            </a:endParaRPr>
          </a:p>
        </p:txBody>
      </p:sp>
      <p:cxnSp>
        <p:nvCxnSpPr>
          <p:cNvPr id="6" name="Conector reto 5"/>
          <p:cNvCxnSpPr/>
          <p:nvPr/>
        </p:nvCxnSpPr>
        <p:spPr bwMode="auto">
          <a:xfrm>
            <a:off x="1654629" y="4296229"/>
            <a:ext cx="2917371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2603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etângulo 1"/>
          <p:cNvSpPr/>
          <p:nvPr/>
        </p:nvSpPr>
        <p:spPr>
          <a:xfrm>
            <a:off x="181918" y="1503363"/>
            <a:ext cx="88392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b="1" u="none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OBRIG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auto">
          <a:xfrm>
            <a:off x="1759893" y="2542104"/>
            <a:ext cx="2571750" cy="383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pt-BR" sz="1600" u="none" dirty="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pt-BR" sz="1600" u="none" dirty="0" smtClean="0">
                <a:solidFill>
                  <a:schemeClr val="bg1"/>
                </a:solidFill>
              </a:rPr>
              <a:t>Caio </a:t>
            </a:r>
            <a:r>
              <a:rPr lang="pt-BR" sz="1600" u="none" dirty="0" err="1" smtClean="0">
                <a:solidFill>
                  <a:schemeClr val="bg1"/>
                </a:solidFill>
              </a:rPr>
              <a:t>Petroucic</a:t>
            </a:r>
            <a:r>
              <a:rPr lang="pt-BR" sz="1600" u="none" dirty="0" smtClean="0">
                <a:solidFill>
                  <a:schemeClr val="bg1"/>
                </a:solidFill>
              </a:rPr>
              <a:t/>
            </a:r>
            <a:br>
              <a:rPr lang="pt-BR" sz="1600" u="none" dirty="0" smtClean="0">
                <a:solidFill>
                  <a:schemeClr val="bg1"/>
                </a:solidFill>
              </a:rPr>
            </a:br>
            <a:r>
              <a:rPr lang="pt-BR" sz="1600" u="none" dirty="0" smtClean="0">
                <a:solidFill>
                  <a:schemeClr val="bg1"/>
                </a:solidFill>
              </a:rPr>
              <a:t>Diretor de Relacionamento </a:t>
            </a:r>
            <a:endParaRPr lang="en-US" sz="1600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endParaRPr lang="en-US" sz="900" b="1" u="none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0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762910" y="3697297"/>
            <a:ext cx="256842" cy="265725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050" y="3093789"/>
            <a:ext cx="269702" cy="279031"/>
          </a:xfrm>
          <a:prstGeom prst="rect">
            <a:avLst/>
          </a:prstGeom>
        </p:spPr>
      </p:pic>
      <p:sp>
        <p:nvSpPr>
          <p:cNvPr id="14" name="Title 4"/>
          <p:cNvSpPr txBox="1">
            <a:spLocks/>
          </p:cNvSpPr>
          <p:nvPr/>
        </p:nvSpPr>
        <p:spPr bwMode="auto">
          <a:xfrm>
            <a:off x="2070712" y="2986164"/>
            <a:ext cx="2336188" cy="442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</a:t>
            </a:r>
            <a:r>
              <a:rPr lang="pt-BR" sz="1000" u="none" dirty="0">
                <a:solidFill>
                  <a:schemeClr val="bg1"/>
                </a:solidFill>
              </a:rPr>
              <a:t>55 (11) </a:t>
            </a:r>
            <a:r>
              <a:rPr lang="pt-BR" sz="1000" u="none" dirty="0" smtClean="0">
                <a:solidFill>
                  <a:schemeClr val="bg1"/>
                </a:solidFill>
              </a:rPr>
              <a:t>2161-6012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4" t="34396" r="31244" b="41139"/>
          <a:stretch/>
        </p:blipFill>
        <p:spPr>
          <a:xfrm>
            <a:off x="3775935" y="5205769"/>
            <a:ext cx="1699708" cy="859212"/>
          </a:xfrm>
          <a:prstGeom prst="rect">
            <a:avLst/>
          </a:prstGeom>
        </p:spPr>
      </p:pic>
      <p:sp>
        <p:nvSpPr>
          <p:cNvPr id="9" name="Title 4"/>
          <p:cNvSpPr txBox="1">
            <a:spLocks/>
          </p:cNvSpPr>
          <p:nvPr/>
        </p:nvSpPr>
        <p:spPr bwMode="auto">
          <a:xfrm>
            <a:off x="2070712" y="3581400"/>
            <a:ext cx="2336188" cy="442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petroucicc@willis.com</a:t>
            </a:r>
          </a:p>
        </p:txBody>
      </p:sp>
      <p:pic>
        <p:nvPicPr>
          <p:cNvPr id="13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051" y="3372820"/>
            <a:ext cx="269702" cy="279031"/>
          </a:xfrm>
          <a:prstGeom prst="rect">
            <a:avLst/>
          </a:prstGeom>
        </p:spPr>
      </p:pic>
      <p:sp>
        <p:nvSpPr>
          <p:cNvPr id="16" name="Title 4"/>
          <p:cNvSpPr txBox="1">
            <a:spLocks/>
          </p:cNvSpPr>
          <p:nvPr/>
        </p:nvSpPr>
        <p:spPr bwMode="auto">
          <a:xfrm>
            <a:off x="2070712" y="3276883"/>
            <a:ext cx="2336188" cy="442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</a:t>
            </a:r>
            <a:r>
              <a:rPr lang="pt-BR" sz="1000" u="none" dirty="0">
                <a:solidFill>
                  <a:schemeClr val="bg1"/>
                </a:solidFill>
              </a:rPr>
              <a:t>55 (11) </a:t>
            </a:r>
            <a:r>
              <a:rPr lang="pt-BR" sz="1000" u="none" dirty="0" smtClean="0">
                <a:solidFill>
                  <a:schemeClr val="bg1"/>
                </a:solidFill>
              </a:rPr>
              <a:t>96849-8451</a:t>
            </a:r>
          </a:p>
        </p:txBody>
      </p:sp>
    </p:spTree>
    <p:extLst>
      <p:ext uri="{BB962C8B-B14F-4D97-AF65-F5344CB8AC3E}">
        <p14:creationId xmlns:p14="http://schemas.microsoft.com/office/powerpoint/2010/main" val="350940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90422" y="1638556"/>
            <a:ext cx="4057650" cy="1956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200"/>
              </a:lnSpc>
            </a:pPr>
            <a:r>
              <a:rPr lang="pt-BR" sz="2800" u="none" dirty="0">
                <a:solidFill>
                  <a:srgbClr val="003A60"/>
                </a:solidFill>
                <a:latin typeface="Cambria" panose="02040503050406030204" pitchFamily="18" charset="0"/>
              </a:rPr>
              <a:t>Programas Mundiais, Regionais e </a:t>
            </a:r>
            <a:r>
              <a:rPr lang="pt-BR" sz="2800" u="none" dirty="0" err="1">
                <a:solidFill>
                  <a:srgbClr val="003A60"/>
                </a:solidFill>
                <a:latin typeface="Cambria" panose="02040503050406030204" pitchFamily="18" charset="0"/>
              </a:rPr>
              <a:t>Multilatinas</a:t>
            </a:r>
            <a:r>
              <a:rPr lang="pt-BR" sz="2800" u="none" dirty="0">
                <a:solidFill>
                  <a:srgbClr val="003A60"/>
                </a:solidFill>
                <a:latin typeface="Cambria" panose="02040503050406030204" pitchFamily="18" charset="0"/>
              </a:rPr>
              <a:t> </a:t>
            </a:r>
            <a:r>
              <a:rPr lang="pt-BR" sz="1800" u="none" dirty="0">
                <a:solidFill>
                  <a:srgbClr val="003A60"/>
                </a:solidFill>
                <a:latin typeface="Cambria" panose="02040503050406030204" pitchFamily="18" charset="0"/>
              </a:rPr>
              <a:t>(Visão dos segurados e corretores</a:t>
            </a:r>
            <a:r>
              <a:rPr lang="pt-BR" sz="1800" u="none" dirty="0" smtClean="0">
                <a:solidFill>
                  <a:srgbClr val="003A60"/>
                </a:solidFill>
                <a:latin typeface="Cambria" panose="02040503050406030204" pitchFamily="18" charset="0"/>
              </a:rPr>
              <a:t>)</a:t>
            </a:r>
            <a:endParaRPr lang="pt-BR" sz="1600" u="none" dirty="0">
              <a:solidFill>
                <a:srgbClr val="003A60"/>
              </a:solidFill>
              <a:latin typeface="Cambria" panose="02040503050406030204" pitchFamily="18" charset="0"/>
            </a:endParaRPr>
          </a:p>
          <a:p>
            <a:pPr>
              <a:lnSpc>
                <a:spcPts val="2100"/>
              </a:lnSpc>
            </a:pPr>
            <a:endParaRPr lang="en-US" sz="1600" u="none" dirty="0" smtClean="0">
              <a:solidFill>
                <a:srgbClr val="003A60"/>
              </a:solidFill>
              <a:latin typeface="Cambria" panose="020405030504060302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0422" y="3907309"/>
            <a:ext cx="3308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u="none" dirty="0">
                <a:solidFill>
                  <a:srgbClr val="003A60"/>
                </a:solidFill>
              </a:rPr>
              <a:t>São Paulo, </a:t>
            </a:r>
            <a:r>
              <a:rPr lang="pt-BR" sz="1600" u="none" dirty="0" smtClean="0">
                <a:solidFill>
                  <a:srgbClr val="003A60"/>
                </a:solidFill>
              </a:rPr>
              <a:t>28 </a:t>
            </a:r>
            <a:r>
              <a:rPr lang="pt-BR" sz="1600" u="none" dirty="0">
                <a:solidFill>
                  <a:srgbClr val="003A60"/>
                </a:solidFill>
              </a:rPr>
              <a:t>de </a:t>
            </a:r>
            <a:r>
              <a:rPr lang="pt-BR" sz="1600" u="none" dirty="0" smtClean="0">
                <a:solidFill>
                  <a:srgbClr val="003A60"/>
                </a:solidFill>
              </a:rPr>
              <a:t>outubro </a:t>
            </a:r>
            <a:r>
              <a:rPr lang="pt-BR" sz="1600" u="none" dirty="0">
                <a:solidFill>
                  <a:srgbClr val="003A60"/>
                </a:solidFill>
              </a:rPr>
              <a:t>de </a:t>
            </a:r>
            <a:r>
              <a:rPr lang="pt-BR" sz="1600" u="none" dirty="0" smtClean="0">
                <a:solidFill>
                  <a:srgbClr val="003A60"/>
                </a:solidFill>
              </a:rPr>
              <a:t>2015</a:t>
            </a:r>
            <a:endParaRPr lang="en-US" sz="1600" u="none" dirty="0">
              <a:solidFill>
                <a:srgbClr val="003A60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Alguns</a:t>
            </a:r>
            <a:r>
              <a:rPr lang="en-GB" dirty="0" smtClean="0"/>
              <a:t> </a:t>
            </a:r>
            <a:r>
              <a:rPr lang="en-GB" dirty="0" err="1" smtClean="0"/>
              <a:t>Números</a:t>
            </a:r>
            <a:r>
              <a:rPr lang="en-GB" dirty="0" smtClean="0"/>
              <a:t> </a:t>
            </a:r>
          </a:p>
        </p:txBody>
      </p:sp>
      <p:sp>
        <p:nvSpPr>
          <p:cNvPr id="1024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439881" y="2159482"/>
            <a:ext cx="6859643" cy="438150"/>
          </a:xfrm>
        </p:spPr>
        <p:txBody>
          <a:bodyPr/>
          <a:lstStyle/>
          <a:p>
            <a:pPr marL="0" indent="0"/>
            <a:r>
              <a:rPr lang="en-GB" sz="2000" dirty="0" err="1" smtClean="0"/>
              <a:t>Setores</a:t>
            </a:r>
            <a:r>
              <a:rPr lang="en-GB" sz="2000" dirty="0" smtClean="0"/>
              <a:t> de </a:t>
            </a:r>
            <a:r>
              <a:rPr lang="en-GB" sz="2000" dirty="0" err="1" smtClean="0"/>
              <a:t>operação</a:t>
            </a:r>
            <a:r>
              <a:rPr lang="en-GB" sz="2000" dirty="0" smtClean="0"/>
              <a:t> das </a:t>
            </a:r>
            <a:r>
              <a:rPr lang="en-GB" sz="2000" dirty="0" err="1" smtClean="0"/>
              <a:t>multinacionais</a:t>
            </a:r>
            <a:r>
              <a:rPr lang="en-GB" sz="2000" dirty="0" smtClean="0"/>
              <a:t> </a:t>
            </a:r>
            <a:r>
              <a:rPr lang="en-GB" sz="2000" dirty="0" err="1" smtClean="0"/>
              <a:t>brasileiras</a:t>
            </a:r>
            <a:r>
              <a:rPr lang="en-GB" sz="2000" dirty="0" smtClean="0"/>
              <a:t> </a:t>
            </a:r>
          </a:p>
        </p:txBody>
      </p:sp>
      <p:sp>
        <p:nvSpPr>
          <p:cNvPr id="6" name="Espaço Reservado para Conteúdo 2"/>
          <p:cNvSpPr txBox="1">
            <a:spLocks/>
          </p:cNvSpPr>
          <p:nvPr/>
        </p:nvSpPr>
        <p:spPr bwMode="auto">
          <a:xfrm>
            <a:off x="69924" y="966285"/>
            <a:ext cx="8229600" cy="5145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rgbClr val="003A60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t-BR" sz="1600" b="0" u="none" dirty="0" smtClean="0"/>
              <a:t>Em 2010 - 95 empresas </a:t>
            </a:r>
          </a:p>
          <a:p>
            <a:r>
              <a:rPr lang="pt-BR" sz="1600" b="0" u="none" dirty="0" smtClean="0">
                <a:solidFill>
                  <a:srgbClr val="003A60"/>
                </a:solidFill>
                <a:cs typeface="+mn-cs"/>
              </a:rPr>
              <a:t>Em </a:t>
            </a:r>
            <a:r>
              <a:rPr lang="pt-BR" sz="1600" b="0" u="none" dirty="0">
                <a:solidFill>
                  <a:srgbClr val="003A60"/>
                </a:solidFill>
                <a:cs typeface="+mn-cs"/>
              </a:rPr>
              <a:t>2014 mais de 400 empresas brasileiras presentes em 56 países. (Observatório de Multinacionais Brasileiras da ESPM</a:t>
            </a:r>
            <a:r>
              <a:rPr lang="pt-BR" sz="1600" b="0" u="none" dirty="0" smtClean="0">
                <a:solidFill>
                  <a:srgbClr val="003A60"/>
                </a:solidFill>
                <a:cs typeface="+mn-cs"/>
              </a:rPr>
              <a:t>).</a:t>
            </a:r>
          </a:p>
          <a:p>
            <a:endParaRPr lang="pt-BR" sz="1600" b="0" u="none" dirty="0"/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582580"/>
              </p:ext>
            </p:extLst>
          </p:nvPr>
        </p:nvGraphicFramePr>
        <p:xfrm>
          <a:off x="1449144" y="2842260"/>
          <a:ext cx="5728896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12713" y="120126"/>
            <a:ext cx="8720137" cy="668338"/>
          </a:xfrm>
        </p:spPr>
        <p:txBody>
          <a:bodyPr/>
          <a:lstStyle/>
          <a:p>
            <a:r>
              <a:rPr lang="en-US" sz="2000" dirty="0" err="1" smtClean="0"/>
              <a:t>Atividades</a:t>
            </a:r>
            <a:r>
              <a:rPr lang="en-US" sz="2000" dirty="0" smtClean="0"/>
              <a:t> de </a:t>
            </a:r>
            <a:r>
              <a:rPr lang="en-US" sz="2000" dirty="0" err="1" smtClean="0"/>
              <a:t>Manufatura</a:t>
            </a:r>
            <a:r>
              <a:rPr lang="en-US" sz="2000" dirty="0" smtClean="0"/>
              <a:t> </a:t>
            </a:r>
            <a:r>
              <a:rPr lang="en-US" sz="2000" dirty="0" err="1"/>
              <a:t>em</a:t>
            </a:r>
            <a:r>
              <a:rPr lang="en-US" sz="2000" dirty="0"/>
              <a:t> </a:t>
            </a:r>
            <a:r>
              <a:rPr lang="en-US" sz="2000" dirty="0" err="1"/>
              <a:t>que</a:t>
            </a:r>
            <a:r>
              <a:rPr lang="en-US" sz="2000" dirty="0"/>
              <a:t> </a:t>
            </a:r>
            <a:r>
              <a:rPr lang="en-US" sz="2000" dirty="0" err="1" smtClean="0"/>
              <a:t>multinacionais</a:t>
            </a:r>
            <a:r>
              <a:rPr lang="en-US" sz="2000" dirty="0" smtClean="0"/>
              <a:t> </a:t>
            </a:r>
            <a:r>
              <a:rPr lang="en-US" sz="2000" dirty="0" err="1" smtClean="0"/>
              <a:t>brasileiras</a:t>
            </a:r>
            <a:r>
              <a:rPr lang="en-US" sz="2000" dirty="0" smtClean="0"/>
              <a:t> </a:t>
            </a:r>
            <a:r>
              <a:rPr lang="en-US" sz="2000" dirty="0" err="1" smtClean="0"/>
              <a:t>atuam</a:t>
            </a:r>
            <a:endParaRPr lang="en-US" sz="2000" dirty="0"/>
          </a:p>
        </p:txBody>
      </p:sp>
      <p:grpSp>
        <p:nvGrpSpPr>
          <p:cNvPr id="2" name="Grupo 1"/>
          <p:cNvGrpSpPr/>
          <p:nvPr/>
        </p:nvGrpSpPr>
        <p:grpSpPr>
          <a:xfrm>
            <a:off x="433813" y="1484531"/>
            <a:ext cx="7857083" cy="3410173"/>
            <a:chOff x="172121" y="2269865"/>
            <a:chExt cx="7857083" cy="3410173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3" t="24573" r="4935" b="4001"/>
            <a:stretch/>
          </p:blipFill>
          <p:spPr bwMode="auto">
            <a:xfrm>
              <a:off x="172121" y="2269865"/>
              <a:ext cx="7562627" cy="3410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642" t="24573" r="531" b="68029"/>
            <a:stretch/>
          </p:blipFill>
          <p:spPr bwMode="auto">
            <a:xfrm>
              <a:off x="7734748" y="2314693"/>
              <a:ext cx="294456" cy="2671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050" name="Picture 2" descr="M:\CRIAÇÃO\IMAGENS E VETORES_SHUTTERSTOCK\IMAGENS\DIVERSOS\JPEG\shutterstock_13522809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438" y="2964180"/>
            <a:ext cx="2052586" cy="2052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safios</a:t>
            </a:r>
            <a:endParaRPr lang="en-GB" dirty="0" smtClean="0"/>
          </a:p>
        </p:txBody>
      </p:sp>
      <p:sp>
        <p:nvSpPr>
          <p:cNvPr id="6" name="Subtítulo 2"/>
          <p:cNvSpPr txBox="1">
            <a:spLocks/>
          </p:cNvSpPr>
          <p:nvPr/>
        </p:nvSpPr>
        <p:spPr bwMode="auto">
          <a:xfrm>
            <a:off x="237993" y="1220642"/>
            <a:ext cx="5896107" cy="4560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rgbClr val="003A60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Escala e Crescimento das Operações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Barreiras de Idioma e Fuso-Horário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Mudanças nos Quadros de Colaboradores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Cultura Corporativa x Desejos da Operação Local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Terminologia – “SEGURÊS”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Determinação de Franquias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Metodologia de Alocação de Prêmios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Assegurar atendimento à Legislação e Riscos Locais (cotações Locais melhores, condição melhor local?  Dar exemplo do Dano Moral e do Empregador nas apólices de programas – apólices com limites de US$ 1mi;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Riscos catastróficos. Não pode ser “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One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size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Fits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all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” muito trabalho do corretor.</a:t>
            </a:r>
          </a:p>
          <a:p>
            <a:pPr marL="457200" indent="-45720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Coleta de Informações. (importante ajuda local do corretor, mas é responsabilidade da empresa).</a:t>
            </a:r>
            <a:endParaRPr lang="en-US" sz="1600" b="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075" name="Picture 3" descr="M:\CRIAÇÃO\IMAGENS E VETORES_SHUTTERSTOCK\IMAGENS\DIVERSOS\JPEG\shutterstock_9944982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459" y="3751073"/>
            <a:ext cx="2581990" cy="2453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rande parte da Solução</a:t>
            </a:r>
            <a:endParaRPr lang="en-GB" dirty="0" smtClean="0"/>
          </a:p>
        </p:txBody>
      </p:sp>
      <p:sp>
        <p:nvSpPr>
          <p:cNvPr id="1024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7041" y="2875628"/>
            <a:ext cx="5913880" cy="438150"/>
          </a:xfrm>
        </p:spPr>
        <p:txBody>
          <a:bodyPr/>
          <a:lstStyle/>
          <a:p>
            <a:pPr marL="0" indent="0"/>
            <a:r>
              <a:rPr lang="en-GB" sz="4800" b="0" dirty="0" err="1" smtClean="0">
                <a:solidFill>
                  <a:srgbClr val="003A60"/>
                </a:solidFill>
                <a:latin typeface="Arial Black" panose="020B0A04020102020204" pitchFamily="34" charset="0"/>
              </a:rPr>
              <a:t>Comunicação</a:t>
            </a:r>
            <a:r>
              <a:rPr lang="en-GB" sz="4800" b="0" dirty="0" smtClean="0">
                <a:solidFill>
                  <a:srgbClr val="003A60"/>
                </a:solidFill>
                <a:latin typeface="Arial Black" panose="020B0A04020102020204" pitchFamily="34" charset="0"/>
              </a:rPr>
              <a:t> </a:t>
            </a:r>
            <a:r>
              <a:rPr lang="en-GB" sz="4800" b="0" dirty="0" err="1" smtClean="0">
                <a:solidFill>
                  <a:srgbClr val="003A60"/>
                </a:solidFill>
                <a:latin typeface="Arial Black" panose="020B0A04020102020204" pitchFamily="34" charset="0"/>
              </a:rPr>
              <a:t>Eficiente</a:t>
            </a:r>
            <a:r>
              <a:rPr lang="en-GB" sz="4800" b="0" dirty="0" smtClean="0">
                <a:solidFill>
                  <a:srgbClr val="003A60"/>
                </a:solidFill>
                <a:latin typeface="Arial Black" panose="020B0A04020102020204" pitchFamily="34" charset="0"/>
              </a:rPr>
              <a:t>!</a:t>
            </a:r>
          </a:p>
        </p:txBody>
      </p:sp>
      <p:pic>
        <p:nvPicPr>
          <p:cNvPr id="7170" name="Picture 2" descr="M:\CRIAÇÃO\IMAGENS E VETORES_SHUTTERSTOCK\IMAGENS\DIVERSOS\JPEG\shutterstock_823598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91"/>
          <a:stretch/>
        </p:blipFill>
        <p:spPr bwMode="auto">
          <a:xfrm>
            <a:off x="5794743" y="1329070"/>
            <a:ext cx="3334549" cy="4126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80116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M:\CRIAÇÃO\IMAGENS E VETORES_SHUTTERSTOCK\IMAGENS\DIVERSOS\JPEG\shutterstock_9848299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94" t="-5150" r="-10919" b="-12343"/>
          <a:stretch/>
        </p:blipFill>
        <p:spPr bwMode="auto">
          <a:xfrm>
            <a:off x="-596925" y="-542260"/>
            <a:ext cx="10763010" cy="8537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ço Reservado para Conteúdo 2"/>
          <p:cNvSpPr txBox="1">
            <a:spLocks/>
          </p:cNvSpPr>
          <p:nvPr/>
        </p:nvSpPr>
        <p:spPr bwMode="auto">
          <a:xfrm>
            <a:off x="0" y="1881962"/>
            <a:ext cx="3958589" cy="2423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rgbClr val="003A60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pt-BR" sz="1600" dirty="0" smtClean="0"/>
          </a:p>
          <a:p>
            <a:pPr marL="0" indent="0"/>
            <a:endParaRPr lang="pt-BR" sz="1600" dirty="0" smtClean="0"/>
          </a:p>
          <a:p>
            <a:pPr marL="0" indent="0"/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Após décadas atendendo programas referidos, hoje temos uma adequada bagagem na estruturação de programas a partir do Brasil, identificando onde discussões podem surgir!</a:t>
            </a:r>
          </a:p>
          <a:p>
            <a:pPr marL="0" indent="0"/>
            <a:endParaRPr lang="pt-BR" sz="1600" b="0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/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Time especializado no atendimento de Programas!</a:t>
            </a:r>
            <a:endParaRPr lang="en-US" sz="1600" b="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 descr="M:\CRIAÇÃO\IMAGENS E VETORES_SHUTTERSTOCK\IMAGENS\DIVERSOS\JPEG\shutterstock_16817362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48"/>
          <a:stretch/>
        </p:blipFill>
        <p:spPr bwMode="auto">
          <a:xfrm>
            <a:off x="6838949" y="1038488"/>
            <a:ext cx="2047875" cy="507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safios e Soluções</a:t>
            </a:r>
            <a:endParaRPr lang="en-US" dirty="0"/>
          </a:p>
        </p:txBody>
      </p:sp>
      <p:pic>
        <p:nvPicPr>
          <p:cNvPr id="4101" name="Picture 5" descr="M:\CRIAÇÃO\IMAGENS E VETORES_SHUTTERSTOCK\IMAGENS\DIVERSOS\JPEG\shutterstock_16817362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68" y="1038488"/>
            <a:ext cx="7614496" cy="507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ço Reservado para Conteúdo 2"/>
          <p:cNvSpPr txBox="1">
            <a:spLocks/>
          </p:cNvSpPr>
          <p:nvPr/>
        </p:nvSpPr>
        <p:spPr bwMode="auto">
          <a:xfrm>
            <a:off x="4533123" y="1679089"/>
            <a:ext cx="4364002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rgbClr val="003A60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t-BR" sz="1600" u="none" dirty="0" smtClean="0">
                <a:solidFill>
                  <a:schemeClr val="accent4">
                    <a:lumMod val="75000"/>
                    <a:lumOff val="25000"/>
                  </a:schemeClr>
                </a:solidFill>
              </a:rPr>
              <a:t>Combinar o Jogo: 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Formalização de um Protocolo de Comunicação;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Network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Brief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– Definição de Atuação de cada um;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Sistema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OnLine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para Acompanhamento de Emissões de Apólices/Sinistros/Sumário de Apólices;</a:t>
            </a:r>
          </a:p>
          <a:p>
            <a:pPr lvl="1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Definição de um “Service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Level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t-BR" sz="1600" b="0" u="none" dirty="0" err="1" smtClean="0">
                <a:solidFill>
                  <a:schemeClr val="accent5">
                    <a:lumMod val="50000"/>
                  </a:schemeClr>
                </a:solidFill>
              </a:rPr>
              <a:t>Agreement</a:t>
            </a:r>
            <a:r>
              <a:rPr lang="pt-BR" sz="1600" b="0" u="none" dirty="0" smtClean="0">
                <a:solidFill>
                  <a:schemeClr val="accent5">
                    <a:lumMod val="50000"/>
                  </a:schemeClr>
                </a:solidFill>
              </a:rPr>
              <a:t>” entre as partes envolvidas.</a:t>
            </a:r>
            <a:endParaRPr lang="en-US" sz="1600" b="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e 2"/>
          <p:cNvSpPr/>
          <p:nvPr/>
        </p:nvSpPr>
        <p:spPr bwMode="auto">
          <a:xfrm>
            <a:off x="2686670" y="1371064"/>
            <a:ext cx="3718536" cy="2916624"/>
          </a:xfrm>
          <a:prstGeom prst="ellipse">
            <a:avLst/>
          </a:prstGeom>
          <a:solidFill>
            <a:srgbClr val="914060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Elipse 7"/>
          <p:cNvSpPr/>
          <p:nvPr/>
        </p:nvSpPr>
        <p:spPr bwMode="auto">
          <a:xfrm>
            <a:off x="1924050" y="3362170"/>
            <a:ext cx="3395782" cy="2838604"/>
          </a:xfrm>
          <a:prstGeom prst="ellipse">
            <a:avLst/>
          </a:prstGeom>
          <a:solidFill>
            <a:srgbClr val="0F71B9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ente x Corretor x Segurador</a:t>
            </a:r>
            <a:endParaRPr lang="en-GB" dirty="0" smtClean="0"/>
          </a:p>
        </p:txBody>
      </p:sp>
      <p:sp>
        <p:nvSpPr>
          <p:cNvPr id="1024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/>
            <a:r>
              <a:rPr lang="en-GB" sz="1800" dirty="0" err="1" smtClean="0"/>
              <a:t>Proposta</a:t>
            </a:r>
            <a:r>
              <a:rPr lang="en-GB" sz="1800" dirty="0" smtClean="0"/>
              <a:t> de </a:t>
            </a:r>
            <a:r>
              <a:rPr lang="en-GB" sz="1800" dirty="0" err="1" smtClean="0"/>
              <a:t>Valor</a:t>
            </a:r>
            <a:endParaRPr lang="en-GB" sz="1800" dirty="0" smtClean="0"/>
          </a:p>
        </p:txBody>
      </p:sp>
      <p:sp>
        <p:nvSpPr>
          <p:cNvPr id="7" name="Elipse 6"/>
          <p:cNvSpPr/>
          <p:nvPr/>
        </p:nvSpPr>
        <p:spPr bwMode="auto">
          <a:xfrm>
            <a:off x="3751060" y="3351407"/>
            <a:ext cx="3526040" cy="2849367"/>
          </a:xfrm>
          <a:prstGeom prst="ellipse">
            <a:avLst/>
          </a:prstGeom>
          <a:solidFill>
            <a:srgbClr val="F79236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616538" y="5315311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 u="none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dirty="0"/>
              <a:t>Corretor</a:t>
            </a:r>
            <a:endParaRPr lang="en-US" dirty="0"/>
          </a:p>
        </p:txBody>
      </p:sp>
      <p:sp>
        <p:nvSpPr>
          <p:cNvPr id="10" name="CaixaDeTexto 9"/>
          <p:cNvSpPr txBox="1"/>
          <p:nvPr/>
        </p:nvSpPr>
        <p:spPr>
          <a:xfrm>
            <a:off x="5086542" y="5275240"/>
            <a:ext cx="12666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 u="none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dirty="0"/>
              <a:t>Segurador </a:t>
            </a:r>
            <a:endParaRPr lang="en-US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3743760" y="1890938"/>
            <a:ext cx="1576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u="none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sk</a:t>
            </a:r>
            <a:r>
              <a:rPr lang="pt-BR" sz="1600" b="1" u="non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nager</a:t>
            </a:r>
            <a:endParaRPr lang="en-US" sz="1600" b="1" u="non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Forma livre 13"/>
          <p:cNvSpPr/>
          <p:nvPr/>
        </p:nvSpPr>
        <p:spPr bwMode="auto">
          <a:xfrm>
            <a:off x="3783668" y="3387497"/>
            <a:ext cx="1524538" cy="988996"/>
          </a:xfrm>
          <a:custGeom>
            <a:avLst/>
            <a:gdLst>
              <a:gd name="connsiteX0" fmla="*/ 751192 w 1562979"/>
              <a:gd name="connsiteY0" fmla="*/ 14573 h 1010707"/>
              <a:gd name="connsiteX1" fmla="*/ 1194368 w 1562979"/>
              <a:gd name="connsiteY1" fmla="*/ 320308 h 1010707"/>
              <a:gd name="connsiteX2" fmla="*/ 1438395 w 1562979"/>
              <a:gd name="connsiteY2" fmla="*/ 634458 h 1010707"/>
              <a:gd name="connsiteX3" fmla="*/ 1525347 w 1562979"/>
              <a:gd name="connsiteY3" fmla="*/ 892510 h 1010707"/>
              <a:gd name="connsiteX4" fmla="*/ 821315 w 1562979"/>
              <a:gd name="connsiteY4" fmla="*/ 1010316 h 1010707"/>
              <a:gd name="connsiteX5" fmla="*/ 128503 w 1562979"/>
              <a:gd name="connsiteY5" fmla="*/ 928973 h 1010707"/>
              <a:gd name="connsiteX6" fmla="*/ 2282 w 1562979"/>
              <a:gd name="connsiteY6" fmla="*/ 884095 h 1010707"/>
              <a:gd name="connsiteX7" fmla="*/ 47160 w 1562979"/>
              <a:gd name="connsiteY7" fmla="*/ 777508 h 1010707"/>
              <a:gd name="connsiteX8" fmla="*/ 47160 w 1562979"/>
              <a:gd name="connsiteY8" fmla="*/ 718605 h 1010707"/>
              <a:gd name="connsiteX9" fmla="*/ 153747 w 1562979"/>
              <a:gd name="connsiteY9" fmla="*/ 508237 h 1010707"/>
              <a:gd name="connsiteX10" fmla="*/ 369725 w 1562979"/>
              <a:gd name="connsiteY10" fmla="*/ 267015 h 1010707"/>
              <a:gd name="connsiteX11" fmla="*/ 644606 w 1562979"/>
              <a:gd name="connsiteY11" fmla="*/ 70672 h 1010707"/>
              <a:gd name="connsiteX12" fmla="*/ 751192 w 1562979"/>
              <a:gd name="connsiteY12" fmla="*/ 14573 h 1010707"/>
              <a:gd name="connsiteX0" fmla="*/ 751192 w 1562979"/>
              <a:gd name="connsiteY0" fmla="*/ 27919 h 1024053"/>
              <a:gd name="connsiteX1" fmla="*/ 1194368 w 1562979"/>
              <a:gd name="connsiteY1" fmla="*/ 333654 h 1024053"/>
              <a:gd name="connsiteX2" fmla="*/ 1438395 w 1562979"/>
              <a:gd name="connsiteY2" fmla="*/ 647804 h 1024053"/>
              <a:gd name="connsiteX3" fmla="*/ 1525347 w 1562979"/>
              <a:gd name="connsiteY3" fmla="*/ 905856 h 1024053"/>
              <a:gd name="connsiteX4" fmla="*/ 821315 w 1562979"/>
              <a:gd name="connsiteY4" fmla="*/ 1023662 h 1024053"/>
              <a:gd name="connsiteX5" fmla="*/ 128503 w 1562979"/>
              <a:gd name="connsiteY5" fmla="*/ 942319 h 1024053"/>
              <a:gd name="connsiteX6" fmla="*/ 2282 w 1562979"/>
              <a:gd name="connsiteY6" fmla="*/ 897441 h 1024053"/>
              <a:gd name="connsiteX7" fmla="*/ 47160 w 1562979"/>
              <a:gd name="connsiteY7" fmla="*/ 790854 h 1024053"/>
              <a:gd name="connsiteX8" fmla="*/ 47160 w 1562979"/>
              <a:gd name="connsiteY8" fmla="*/ 731951 h 1024053"/>
              <a:gd name="connsiteX9" fmla="*/ 153747 w 1562979"/>
              <a:gd name="connsiteY9" fmla="*/ 521583 h 1024053"/>
              <a:gd name="connsiteX10" fmla="*/ 369725 w 1562979"/>
              <a:gd name="connsiteY10" fmla="*/ 280361 h 1024053"/>
              <a:gd name="connsiteX11" fmla="*/ 723143 w 1562979"/>
              <a:gd name="connsiteY11" fmla="*/ 41944 h 1024053"/>
              <a:gd name="connsiteX12" fmla="*/ 751192 w 1562979"/>
              <a:gd name="connsiteY12" fmla="*/ 27919 h 1024053"/>
              <a:gd name="connsiteX0" fmla="*/ 751192 w 1562979"/>
              <a:gd name="connsiteY0" fmla="*/ 15484 h 1011618"/>
              <a:gd name="connsiteX1" fmla="*/ 1194368 w 1562979"/>
              <a:gd name="connsiteY1" fmla="*/ 321219 h 1011618"/>
              <a:gd name="connsiteX2" fmla="*/ 1438395 w 1562979"/>
              <a:gd name="connsiteY2" fmla="*/ 635369 h 1011618"/>
              <a:gd name="connsiteX3" fmla="*/ 1525347 w 1562979"/>
              <a:gd name="connsiteY3" fmla="*/ 893421 h 1011618"/>
              <a:gd name="connsiteX4" fmla="*/ 821315 w 1562979"/>
              <a:gd name="connsiteY4" fmla="*/ 1011227 h 1011618"/>
              <a:gd name="connsiteX5" fmla="*/ 128503 w 1562979"/>
              <a:gd name="connsiteY5" fmla="*/ 929884 h 1011618"/>
              <a:gd name="connsiteX6" fmla="*/ 2282 w 1562979"/>
              <a:gd name="connsiteY6" fmla="*/ 885006 h 1011618"/>
              <a:gd name="connsiteX7" fmla="*/ 47160 w 1562979"/>
              <a:gd name="connsiteY7" fmla="*/ 778419 h 1011618"/>
              <a:gd name="connsiteX8" fmla="*/ 47160 w 1562979"/>
              <a:gd name="connsiteY8" fmla="*/ 719516 h 1011618"/>
              <a:gd name="connsiteX9" fmla="*/ 153747 w 1562979"/>
              <a:gd name="connsiteY9" fmla="*/ 509148 h 1011618"/>
              <a:gd name="connsiteX10" fmla="*/ 369725 w 1562979"/>
              <a:gd name="connsiteY10" fmla="*/ 267926 h 1011618"/>
              <a:gd name="connsiteX11" fmla="*/ 723143 w 1562979"/>
              <a:gd name="connsiteY11" fmla="*/ 29509 h 1011618"/>
              <a:gd name="connsiteX12" fmla="*/ 796071 w 1562979"/>
              <a:gd name="connsiteY12" fmla="*/ 43533 h 1011618"/>
              <a:gd name="connsiteX13" fmla="*/ 751192 w 1562979"/>
              <a:gd name="connsiteY13" fmla="*/ 15484 h 1011618"/>
              <a:gd name="connsiteX0" fmla="*/ 751192 w 1562979"/>
              <a:gd name="connsiteY0" fmla="*/ 21338 h 1017472"/>
              <a:gd name="connsiteX1" fmla="*/ 1194368 w 1562979"/>
              <a:gd name="connsiteY1" fmla="*/ 327073 h 1017472"/>
              <a:gd name="connsiteX2" fmla="*/ 1438395 w 1562979"/>
              <a:gd name="connsiteY2" fmla="*/ 641223 h 1017472"/>
              <a:gd name="connsiteX3" fmla="*/ 1525347 w 1562979"/>
              <a:gd name="connsiteY3" fmla="*/ 899275 h 1017472"/>
              <a:gd name="connsiteX4" fmla="*/ 821315 w 1562979"/>
              <a:gd name="connsiteY4" fmla="*/ 1017081 h 1017472"/>
              <a:gd name="connsiteX5" fmla="*/ 128503 w 1562979"/>
              <a:gd name="connsiteY5" fmla="*/ 935738 h 1017472"/>
              <a:gd name="connsiteX6" fmla="*/ 2282 w 1562979"/>
              <a:gd name="connsiteY6" fmla="*/ 890860 h 1017472"/>
              <a:gd name="connsiteX7" fmla="*/ 47160 w 1562979"/>
              <a:gd name="connsiteY7" fmla="*/ 784273 h 1017472"/>
              <a:gd name="connsiteX8" fmla="*/ 47160 w 1562979"/>
              <a:gd name="connsiteY8" fmla="*/ 725370 h 1017472"/>
              <a:gd name="connsiteX9" fmla="*/ 153747 w 1562979"/>
              <a:gd name="connsiteY9" fmla="*/ 515002 h 1017472"/>
              <a:gd name="connsiteX10" fmla="*/ 369725 w 1562979"/>
              <a:gd name="connsiteY10" fmla="*/ 273780 h 1017472"/>
              <a:gd name="connsiteX11" fmla="*/ 723143 w 1562979"/>
              <a:gd name="connsiteY11" fmla="*/ 35363 h 1017472"/>
              <a:gd name="connsiteX12" fmla="*/ 759607 w 1562979"/>
              <a:gd name="connsiteY12" fmla="*/ 26948 h 1017472"/>
              <a:gd name="connsiteX13" fmla="*/ 751192 w 1562979"/>
              <a:gd name="connsiteY13" fmla="*/ 21338 h 1017472"/>
              <a:gd name="connsiteX0" fmla="*/ 751192 w 1562979"/>
              <a:gd name="connsiteY0" fmla="*/ 21338 h 1017472"/>
              <a:gd name="connsiteX1" fmla="*/ 1194368 w 1562979"/>
              <a:gd name="connsiteY1" fmla="*/ 327073 h 1017472"/>
              <a:gd name="connsiteX2" fmla="*/ 1438395 w 1562979"/>
              <a:gd name="connsiteY2" fmla="*/ 641223 h 1017472"/>
              <a:gd name="connsiteX3" fmla="*/ 1525347 w 1562979"/>
              <a:gd name="connsiteY3" fmla="*/ 899275 h 1017472"/>
              <a:gd name="connsiteX4" fmla="*/ 821315 w 1562979"/>
              <a:gd name="connsiteY4" fmla="*/ 1017081 h 1017472"/>
              <a:gd name="connsiteX5" fmla="*/ 128503 w 1562979"/>
              <a:gd name="connsiteY5" fmla="*/ 935738 h 1017472"/>
              <a:gd name="connsiteX6" fmla="*/ 2282 w 1562979"/>
              <a:gd name="connsiteY6" fmla="*/ 890860 h 1017472"/>
              <a:gd name="connsiteX7" fmla="*/ 47160 w 1562979"/>
              <a:gd name="connsiteY7" fmla="*/ 784273 h 1017472"/>
              <a:gd name="connsiteX8" fmla="*/ 47160 w 1562979"/>
              <a:gd name="connsiteY8" fmla="*/ 725370 h 1017472"/>
              <a:gd name="connsiteX9" fmla="*/ 153747 w 1562979"/>
              <a:gd name="connsiteY9" fmla="*/ 515002 h 1017472"/>
              <a:gd name="connsiteX10" fmla="*/ 369725 w 1562979"/>
              <a:gd name="connsiteY10" fmla="*/ 273780 h 1017472"/>
              <a:gd name="connsiteX11" fmla="*/ 697899 w 1562979"/>
              <a:gd name="connsiteY11" fmla="*/ 49388 h 1017472"/>
              <a:gd name="connsiteX12" fmla="*/ 759607 w 1562979"/>
              <a:gd name="connsiteY12" fmla="*/ 26948 h 1017472"/>
              <a:gd name="connsiteX13" fmla="*/ 751192 w 1562979"/>
              <a:gd name="connsiteY13" fmla="*/ 21338 h 1017472"/>
              <a:gd name="connsiteX0" fmla="*/ 751192 w 1562979"/>
              <a:gd name="connsiteY0" fmla="*/ 21338 h 1017472"/>
              <a:gd name="connsiteX1" fmla="*/ 1194368 w 1562979"/>
              <a:gd name="connsiteY1" fmla="*/ 327073 h 1017472"/>
              <a:gd name="connsiteX2" fmla="*/ 1438395 w 1562979"/>
              <a:gd name="connsiteY2" fmla="*/ 641223 h 1017472"/>
              <a:gd name="connsiteX3" fmla="*/ 1525347 w 1562979"/>
              <a:gd name="connsiteY3" fmla="*/ 899275 h 1017472"/>
              <a:gd name="connsiteX4" fmla="*/ 821315 w 1562979"/>
              <a:gd name="connsiteY4" fmla="*/ 1017081 h 1017472"/>
              <a:gd name="connsiteX5" fmla="*/ 128503 w 1562979"/>
              <a:gd name="connsiteY5" fmla="*/ 935738 h 1017472"/>
              <a:gd name="connsiteX6" fmla="*/ 2282 w 1562979"/>
              <a:gd name="connsiteY6" fmla="*/ 890860 h 1017472"/>
              <a:gd name="connsiteX7" fmla="*/ 47160 w 1562979"/>
              <a:gd name="connsiteY7" fmla="*/ 784273 h 1017472"/>
              <a:gd name="connsiteX8" fmla="*/ 47160 w 1562979"/>
              <a:gd name="connsiteY8" fmla="*/ 725370 h 1017472"/>
              <a:gd name="connsiteX9" fmla="*/ 153747 w 1562979"/>
              <a:gd name="connsiteY9" fmla="*/ 515002 h 1017472"/>
              <a:gd name="connsiteX10" fmla="*/ 369725 w 1562979"/>
              <a:gd name="connsiteY10" fmla="*/ 273780 h 1017472"/>
              <a:gd name="connsiteX11" fmla="*/ 697899 w 1562979"/>
              <a:gd name="connsiteY11" fmla="*/ 49388 h 1017472"/>
              <a:gd name="connsiteX12" fmla="*/ 759607 w 1562979"/>
              <a:gd name="connsiteY12" fmla="*/ 26948 h 1017472"/>
              <a:gd name="connsiteX13" fmla="*/ 751192 w 1562979"/>
              <a:gd name="connsiteY13" fmla="*/ 21338 h 1017472"/>
              <a:gd name="connsiteX0" fmla="*/ 751192 w 1562979"/>
              <a:gd name="connsiteY0" fmla="*/ 10364 h 1006498"/>
              <a:gd name="connsiteX1" fmla="*/ 1014853 w 1562979"/>
              <a:gd name="connsiteY1" fmla="*/ 167438 h 1006498"/>
              <a:gd name="connsiteX2" fmla="*/ 1194368 w 1562979"/>
              <a:gd name="connsiteY2" fmla="*/ 316099 h 1006498"/>
              <a:gd name="connsiteX3" fmla="*/ 1438395 w 1562979"/>
              <a:gd name="connsiteY3" fmla="*/ 630249 h 1006498"/>
              <a:gd name="connsiteX4" fmla="*/ 1525347 w 1562979"/>
              <a:gd name="connsiteY4" fmla="*/ 888301 h 1006498"/>
              <a:gd name="connsiteX5" fmla="*/ 821315 w 1562979"/>
              <a:gd name="connsiteY5" fmla="*/ 1006107 h 1006498"/>
              <a:gd name="connsiteX6" fmla="*/ 128503 w 1562979"/>
              <a:gd name="connsiteY6" fmla="*/ 924764 h 1006498"/>
              <a:gd name="connsiteX7" fmla="*/ 2282 w 1562979"/>
              <a:gd name="connsiteY7" fmla="*/ 879886 h 1006498"/>
              <a:gd name="connsiteX8" fmla="*/ 47160 w 1562979"/>
              <a:gd name="connsiteY8" fmla="*/ 773299 h 1006498"/>
              <a:gd name="connsiteX9" fmla="*/ 47160 w 1562979"/>
              <a:gd name="connsiteY9" fmla="*/ 714396 h 1006498"/>
              <a:gd name="connsiteX10" fmla="*/ 153747 w 1562979"/>
              <a:gd name="connsiteY10" fmla="*/ 504028 h 1006498"/>
              <a:gd name="connsiteX11" fmla="*/ 369725 w 1562979"/>
              <a:gd name="connsiteY11" fmla="*/ 262806 h 1006498"/>
              <a:gd name="connsiteX12" fmla="*/ 697899 w 1562979"/>
              <a:gd name="connsiteY12" fmla="*/ 38414 h 1006498"/>
              <a:gd name="connsiteX13" fmla="*/ 759607 w 1562979"/>
              <a:gd name="connsiteY13" fmla="*/ 15974 h 1006498"/>
              <a:gd name="connsiteX14" fmla="*/ 751192 w 1562979"/>
              <a:gd name="connsiteY14" fmla="*/ 10364 h 1006498"/>
              <a:gd name="connsiteX0" fmla="*/ 751192 w 1574265"/>
              <a:gd name="connsiteY0" fmla="*/ 10364 h 1006498"/>
              <a:gd name="connsiteX1" fmla="*/ 1014853 w 1574265"/>
              <a:gd name="connsiteY1" fmla="*/ 167438 h 1006498"/>
              <a:gd name="connsiteX2" fmla="*/ 1194368 w 1574265"/>
              <a:gd name="connsiteY2" fmla="*/ 316099 h 1006498"/>
              <a:gd name="connsiteX3" fmla="*/ 1438395 w 1574265"/>
              <a:gd name="connsiteY3" fmla="*/ 630249 h 1006498"/>
              <a:gd name="connsiteX4" fmla="*/ 1505712 w 1574265"/>
              <a:gd name="connsiteY4" fmla="*/ 812567 h 1006498"/>
              <a:gd name="connsiteX5" fmla="*/ 1525347 w 1574265"/>
              <a:gd name="connsiteY5" fmla="*/ 888301 h 1006498"/>
              <a:gd name="connsiteX6" fmla="*/ 821315 w 1574265"/>
              <a:gd name="connsiteY6" fmla="*/ 1006107 h 1006498"/>
              <a:gd name="connsiteX7" fmla="*/ 128503 w 1574265"/>
              <a:gd name="connsiteY7" fmla="*/ 924764 h 1006498"/>
              <a:gd name="connsiteX8" fmla="*/ 2282 w 1574265"/>
              <a:gd name="connsiteY8" fmla="*/ 879886 h 1006498"/>
              <a:gd name="connsiteX9" fmla="*/ 47160 w 1574265"/>
              <a:gd name="connsiteY9" fmla="*/ 773299 h 1006498"/>
              <a:gd name="connsiteX10" fmla="*/ 47160 w 1574265"/>
              <a:gd name="connsiteY10" fmla="*/ 714396 h 1006498"/>
              <a:gd name="connsiteX11" fmla="*/ 153747 w 1574265"/>
              <a:gd name="connsiteY11" fmla="*/ 504028 h 1006498"/>
              <a:gd name="connsiteX12" fmla="*/ 369725 w 1574265"/>
              <a:gd name="connsiteY12" fmla="*/ 262806 h 1006498"/>
              <a:gd name="connsiteX13" fmla="*/ 697899 w 1574265"/>
              <a:gd name="connsiteY13" fmla="*/ 38414 h 1006498"/>
              <a:gd name="connsiteX14" fmla="*/ 759607 w 1574265"/>
              <a:gd name="connsiteY14" fmla="*/ 15974 h 1006498"/>
              <a:gd name="connsiteX15" fmla="*/ 751192 w 1574265"/>
              <a:gd name="connsiteY15" fmla="*/ 10364 h 1006498"/>
              <a:gd name="connsiteX0" fmla="*/ 751192 w 1576050"/>
              <a:gd name="connsiteY0" fmla="*/ 10364 h 1006498"/>
              <a:gd name="connsiteX1" fmla="*/ 1014853 w 1576050"/>
              <a:gd name="connsiteY1" fmla="*/ 167438 h 1006498"/>
              <a:gd name="connsiteX2" fmla="*/ 1194368 w 1576050"/>
              <a:gd name="connsiteY2" fmla="*/ 316099 h 1006498"/>
              <a:gd name="connsiteX3" fmla="*/ 1438395 w 1576050"/>
              <a:gd name="connsiteY3" fmla="*/ 630249 h 1006498"/>
              <a:gd name="connsiteX4" fmla="*/ 1505712 w 1576050"/>
              <a:gd name="connsiteY4" fmla="*/ 812567 h 1006498"/>
              <a:gd name="connsiteX5" fmla="*/ 1525347 w 1576050"/>
              <a:gd name="connsiteY5" fmla="*/ 888301 h 1006498"/>
              <a:gd name="connsiteX6" fmla="*/ 821315 w 1576050"/>
              <a:gd name="connsiteY6" fmla="*/ 1006107 h 1006498"/>
              <a:gd name="connsiteX7" fmla="*/ 128503 w 1576050"/>
              <a:gd name="connsiteY7" fmla="*/ 924764 h 1006498"/>
              <a:gd name="connsiteX8" fmla="*/ 2282 w 1576050"/>
              <a:gd name="connsiteY8" fmla="*/ 879886 h 1006498"/>
              <a:gd name="connsiteX9" fmla="*/ 47160 w 1576050"/>
              <a:gd name="connsiteY9" fmla="*/ 773299 h 1006498"/>
              <a:gd name="connsiteX10" fmla="*/ 47160 w 1576050"/>
              <a:gd name="connsiteY10" fmla="*/ 714396 h 1006498"/>
              <a:gd name="connsiteX11" fmla="*/ 153747 w 1576050"/>
              <a:gd name="connsiteY11" fmla="*/ 504028 h 1006498"/>
              <a:gd name="connsiteX12" fmla="*/ 369725 w 1576050"/>
              <a:gd name="connsiteY12" fmla="*/ 262806 h 1006498"/>
              <a:gd name="connsiteX13" fmla="*/ 697899 w 1576050"/>
              <a:gd name="connsiteY13" fmla="*/ 38414 h 1006498"/>
              <a:gd name="connsiteX14" fmla="*/ 759607 w 1576050"/>
              <a:gd name="connsiteY14" fmla="*/ 15974 h 1006498"/>
              <a:gd name="connsiteX15" fmla="*/ 751192 w 1576050"/>
              <a:gd name="connsiteY15" fmla="*/ 10364 h 1006498"/>
              <a:gd name="connsiteX0" fmla="*/ 751192 w 1578231"/>
              <a:gd name="connsiteY0" fmla="*/ 10364 h 1006498"/>
              <a:gd name="connsiteX1" fmla="*/ 1014853 w 1578231"/>
              <a:gd name="connsiteY1" fmla="*/ 167438 h 1006498"/>
              <a:gd name="connsiteX2" fmla="*/ 1194368 w 1578231"/>
              <a:gd name="connsiteY2" fmla="*/ 316099 h 1006498"/>
              <a:gd name="connsiteX3" fmla="*/ 1438395 w 1578231"/>
              <a:gd name="connsiteY3" fmla="*/ 630249 h 1006498"/>
              <a:gd name="connsiteX4" fmla="*/ 1505712 w 1578231"/>
              <a:gd name="connsiteY4" fmla="*/ 812567 h 1006498"/>
              <a:gd name="connsiteX5" fmla="*/ 1525346 w 1578231"/>
              <a:gd name="connsiteY5" fmla="*/ 891104 h 1006498"/>
              <a:gd name="connsiteX6" fmla="*/ 1525347 w 1578231"/>
              <a:gd name="connsiteY6" fmla="*/ 888301 h 1006498"/>
              <a:gd name="connsiteX7" fmla="*/ 821315 w 1578231"/>
              <a:gd name="connsiteY7" fmla="*/ 1006107 h 1006498"/>
              <a:gd name="connsiteX8" fmla="*/ 128503 w 1578231"/>
              <a:gd name="connsiteY8" fmla="*/ 924764 h 1006498"/>
              <a:gd name="connsiteX9" fmla="*/ 2282 w 1578231"/>
              <a:gd name="connsiteY9" fmla="*/ 879886 h 1006498"/>
              <a:gd name="connsiteX10" fmla="*/ 47160 w 1578231"/>
              <a:gd name="connsiteY10" fmla="*/ 773299 h 1006498"/>
              <a:gd name="connsiteX11" fmla="*/ 47160 w 1578231"/>
              <a:gd name="connsiteY11" fmla="*/ 714396 h 1006498"/>
              <a:gd name="connsiteX12" fmla="*/ 153747 w 1578231"/>
              <a:gd name="connsiteY12" fmla="*/ 504028 h 1006498"/>
              <a:gd name="connsiteX13" fmla="*/ 369725 w 1578231"/>
              <a:gd name="connsiteY13" fmla="*/ 262806 h 1006498"/>
              <a:gd name="connsiteX14" fmla="*/ 697899 w 1578231"/>
              <a:gd name="connsiteY14" fmla="*/ 38414 h 1006498"/>
              <a:gd name="connsiteX15" fmla="*/ 759607 w 1578231"/>
              <a:gd name="connsiteY15" fmla="*/ 15974 h 1006498"/>
              <a:gd name="connsiteX16" fmla="*/ 751192 w 1578231"/>
              <a:gd name="connsiteY16" fmla="*/ 10364 h 1006498"/>
              <a:gd name="connsiteX0" fmla="*/ 751192 w 1540852"/>
              <a:gd name="connsiteY0" fmla="*/ 10364 h 1006498"/>
              <a:gd name="connsiteX1" fmla="*/ 1014853 w 1540852"/>
              <a:gd name="connsiteY1" fmla="*/ 167438 h 1006498"/>
              <a:gd name="connsiteX2" fmla="*/ 1194368 w 1540852"/>
              <a:gd name="connsiteY2" fmla="*/ 316099 h 1006498"/>
              <a:gd name="connsiteX3" fmla="*/ 1438395 w 1540852"/>
              <a:gd name="connsiteY3" fmla="*/ 630249 h 1006498"/>
              <a:gd name="connsiteX4" fmla="*/ 1505712 w 1540852"/>
              <a:gd name="connsiteY4" fmla="*/ 812567 h 1006498"/>
              <a:gd name="connsiteX5" fmla="*/ 1525346 w 1540852"/>
              <a:gd name="connsiteY5" fmla="*/ 891104 h 1006498"/>
              <a:gd name="connsiteX6" fmla="*/ 1525347 w 1540852"/>
              <a:gd name="connsiteY6" fmla="*/ 888301 h 1006498"/>
              <a:gd name="connsiteX7" fmla="*/ 821315 w 1540852"/>
              <a:gd name="connsiteY7" fmla="*/ 1006107 h 1006498"/>
              <a:gd name="connsiteX8" fmla="*/ 128503 w 1540852"/>
              <a:gd name="connsiteY8" fmla="*/ 924764 h 1006498"/>
              <a:gd name="connsiteX9" fmla="*/ 2282 w 1540852"/>
              <a:gd name="connsiteY9" fmla="*/ 879886 h 1006498"/>
              <a:gd name="connsiteX10" fmla="*/ 47160 w 1540852"/>
              <a:gd name="connsiteY10" fmla="*/ 773299 h 1006498"/>
              <a:gd name="connsiteX11" fmla="*/ 47160 w 1540852"/>
              <a:gd name="connsiteY11" fmla="*/ 714396 h 1006498"/>
              <a:gd name="connsiteX12" fmla="*/ 153747 w 1540852"/>
              <a:gd name="connsiteY12" fmla="*/ 504028 h 1006498"/>
              <a:gd name="connsiteX13" fmla="*/ 369725 w 1540852"/>
              <a:gd name="connsiteY13" fmla="*/ 262806 h 1006498"/>
              <a:gd name="connsiteX14" fmla="*/ 697899 w 1540852"/>
              <a:gd name="connsiteY14" fmla="*/ 38414 h 1006498"/>
              <a:gd name="connsiteX15" fmla="*/ 759607 w 1540852"/>
              <a:gd name="connsiteY15" fmla="*/ 15974 h 1006498"/>
              <a:gd name="connsiteX16" fmla="*/ 751192 w 1540852"/>
              <a:gd name="connsiteY16" fmla="*/ 10364 h 1006498"/>
              <a:gd name="connsiteX0" fmla="*/ 751192 w 1527464"/>
              <a:gd name="connsiteY0" fmla="*/ 10364 h 1006498"/>
              <a:gd name="connsiteX1" fmla="*/ 1014853 w 1527464"/>
              <a:gd name="connsiteY1" fmla="*/ 167438 h 1006498"/>
              <a:gd name="connsiteX2" fmla="*/ 1194368 w 1527464"/>
              <a:gd name="connsiteY2" fmla="*/ 316099 h 1006498"/>
              <a:gd name="connsiteX3" fmla="*/ 1438395 w 1527464"/>
              <a:gd name="connsiteY3" fmla="*/ 630249 h 1006498"/>
              <a:gd name="connsiteX4" fmla="*/ 1505712 w 1527464"/>
              <a:gd name="connsiteY4" fmla="*/ 812567 h 1006498"/>
              <a:gd name="connsiteX5" fmla="*/ 1525346 w 1527464"/>
              <a:gd name="connsiteY5" fmla="*/ 891104 h 1006498"/>
              <a:gd name="connsiteX6" fmla="*/ 1525347 w 1527464"/>
              <a:gd name="connsiteY6" fmla="*/ 888301 h 1006498"/>
              <a:gd name="connsiteX7" fmla="*/ 821315 w 1527464"/>
              <a:gd name="connsiteY7" fmla="*/ 1006107 h 1006498"/>
              <a:gd name="connsiteX8" fmla="*/ 128503 w 1527464"/>
              <a:gd name="connsiteY8" fmla="*/ 924764 h 1006498"/>
              <a:gd name="connsiteX9" fmla="*/ 2282 w 1527464"/>
              <a:gd name="connsiteY9" fmla="*/ 879886 h 1006498"/>
              <a:gd name="connsiteX10" fmla="*/ 47160 w 1527464"/>
              <a:gd name="connsiteY10" fmla="*/ 773299 h 1006498"/>
              <a:gd name="connsiteX11" fmla="*/ 47160 w 1527464"/>
              <a:gd name="connsiteY11" fmla="*/ 714396 h 1006498"/>
              <a:gd name="connsiteX12" fmla="*/ 153747 w 1527464"/>
              <a:gd name="connsiteY12" fmla="*/ 504028 h 1006498"/>
              <a:gd name="connsiteX13" fmla="*/ 369725 w 1527464"/>
              <a:gd name="connsiteY13" fmla="*/ 262806 h 1006498"/>
              <a:gd name="connsiteX14" fmla="*/ 697899 w 1527464"/>
              <a:gd name="connsiteY14" fmla="*/ 38414 h 1006498"/>
              <a:gd name="connsiteX15" fmla="*/ 759607 w 1527464"/>
              <a:gd name="connsiteY15" fmla="*/ 15974 h 1006498"/>
              <a:gd name="connsiteX16" fmla="*/ 751192 w 1527464"/>
              <a:gd name="connsiteY16" fmla="*/ 10364 h 1006498"/>
              <a:gd name="connsiteX0" fmla="*/ 798876 w 1527464"/>
              <a:gd name="connsiteY0" fmla="*/ 23470 h 991555"/>
              <a:gd name="connsiteX1" fmla="*/ 1014853 w 1527464"/>
              <a:gd name="connsiteY1" fmla="*/ 152495 h 991555"/>
              <a:gd name="connsiteX2" fmla="*/ 1194368 w 1527464"/>
              <a:gd name="connsiteY2" fmla="*/ 301156 h 991555"/>
              <a:gd name="connsiteX3" fmla="*/ 1438395 w 1527464"/>
              <a:gd name="connsiteY3" fmla="*/ 615306 h 991555"/>
              <a:gd name="connsiteX4" fmla="*/ 1505712 w 1527464"/>
              <a:gd name="connsiteY4" fmla="*/ 797624 h 991555"/>
              <a:gd name="connsiteX5" fmla="*/ 1525346 w 1527464"/>
              <a:gd name="connsiteY5" fmla="*/ 876161 h 991555"/>
              <a:gd name="connsiteX6" fmla="*/ 1525347 w 1527464"/>
              <a:gd name="connsiteY6" fmla="*/ 873358 h 991555"/>
              <a:gd name="connsiteX7" fmla="*/ 821315 w 1527464"/>
              <a:gd name="connsiteY7" fmla="*/ 991164 h 991555"/>
              <a:gd name="connsiteX8" fmla="*/ 128503 w 1527464"/>
              <a:gd name="connsiteY8" fmla="*/ 909821 h 991555"/>
              <a:gd name="connsiteX9" fmla="*/ 2282 w 1527464"/>
              <a:gd name="connsiteY9" fmla="*/ 864943 h 991555"/>
              <a:gd name="connsiteX10" fmla="*/ 47160 w 1527464"/>
              <a:gd name="connsiteY10" fmla="*/ 758356 h 991555"/>
              <a:gd name="connsiteX11" fmla="*/ 47160 w 1527464"/>
              <a:gd name="connsiteY11" fmla="*/ 699453 h 991555"/>
              <a:gd name="connsiteX12" fmla="*/ 153747 w 1527464"/>
              <a:gd name="connsiteY12" fmla="*/ 489085 h 991555"/>
              <a:gd name="connsiteX13" fmla="*/ 369725 w 1527464"/>
              <a:gd name="connsiteY13" fmla="*/ 247863 h 991555"/>
              <a:gd name="connsiteX14" fmla="*/ 697899 w 1527464"/>
              <a:gd name="connsiteY14" fmla="*/ 23471 h 991555"/>
              <a:gd name="connsiteX15" fmla="*/ 759607 w 1527464"/>
              <a:gd name="connsiteY15" fmla="*/ 1031 h 991555"/>
              <a:gd name="connsiteX16" fmla="*/ 798876 w 1527464"/>
              <a:gd name="connsiteY16" fmla="*/ 23470 h 991555"/>
              <a:gd name="connsiteX0" fmla="*/ 801156 w 1529744"/>
              <a:gd name="connsiteY0" fmla="*/ 23470 h 991555"/>
              <a:gd name="connsiteX1" fmla="*/ 1017133 w 1529744"/>
              <a:gd name="connsiteY1" fmla="*/ 152495 h 991555"/>
              <a:gd name="connsiteX2" fmla="*/ 1196648 w 1529744"/>
              <a:gd name="connsiteY2" fmla="*/ 301156 h 991555"/>
              <a:gd name="connsiteX3" fmla="*/ 1440675 w 1529744"/>
              <a:gd name="connsiteY3" fmla="*/ 615306 h 991555"/>
              <a:gd name="connsiteX4" fmla="*/ 1507992 w 1529744"/>
              <a:gd name="connsiteY4" fmla="*/ 797624 h 991555"/>
              <a:gd name="connsiteX5" fmla="*/ 1527626 w 1529744"/>
              <a:gd name="connsiteY5" fmla="*/ 876161 h 991555"/>
              <a:gd name="connsiteX6" fmla="*/ 1527627 w 1529744"/>
              <a:gd name="connsiteY6" fmla="*/ 873358 h 991555"/>
              <a:gd name="connsiteX7" fmla="*/ 823595 w 1529744"/>
              <a:gd name="connsiteY7" fmla="*/ 991164 h 991555"/>
              <a:gd name="connsiteX8" fmla="*/ 130783 w 1529744"/>
              <a:gd name="connsiteY8" fmla="*/ 909821 h 991555"/>
              <a:gd name="connsiteX9" fmla="*/ 4562 w 1529744"/>
              <a:gd name="connsiteY9" fmla="*/ 864943 h 991555"/>
              <a:gd name="connsiteX10" fmla="*/ 29806 w 1529744"/>
              <a:gd name="connsiteY10" fmla="*/ 749942 h 991555"/>
              <a:gd name="connsiteX11" fmla="*/ 49440 w 1529744"/>
              <a:gd name="connsiteY11" fmla="*/ 699453 h 991555"/>
              <a:gd name="connsiteX12" fmla="*/ 156027 w 1529744"/>
              <a:gd name="connsiteY12" fmla="*/ 489085 h 991555"/>
              <a:gd name="connsiteX13" fmla="*/ 372005 w 1529744"/>
              <a:gd name="connsiteY13" fmla="*/ 247863 h 991555"/>
              <a:gd name="connsiteX14" fmla="*/ 700179 w 1529744"/>
              <a:gd name="connsiteY14" fmla="*/ 23471 h 991555"/>
              <a:gd name="connsiteX15" fmla="*/ 761887 w 1529744"/>
              <a:gd name="connsiteY15" fmla="*/ 1031 h 991555"/>
              <a:gd name="connsiteX16" fmla="*/ 801156 w 1529744"/>
              <a:gd name="connsiteY16" fmla="*/ 23470 h 991555"/>
              <a:gd name="connsiteX0" fmla="*/ 796653 w 1525241"/>
              <a:gd name="connsiteY0" fmla="*/ 23470 h 991550"/>
              <a:gd name="connsiteX1" fmla="*/ 1012630 w 1525241"/>
              <a:gd name="connsiteY1" fmla="*/ 152495 h 991550"/>
              <a:gd name="connsiteX2" fmla="*/ 1192145 w 1525241"/>
              <a:gd name="connsiteY2" fmla="*/ 301156 h 991550"/>
              <a:gd name="connsiteX3" fmla="*/ 1436172 w 1525241"/>
              <a:gd name="connsiteY3" fmla="*/ 615306 h 991550"/>
              <a:gd name="connsiteX4" fmla="*/ 1503489 w 1525241"/>
              <a:gd name="connsiteY4" fmla="*/ 797624 h 991550"/>
              <a:gd name="connsiteX5" fmla="*/ 1523123 w 1525241"/>
              <a:gd name="connsiteY5" fmla="*/ 876161 h 991550"/>
              <a:gd name="connsiteX6" fmla="*/ 1523124 w 1525241"/>
              <a:gd name="connsiteY6" fmla="*/ 873358 h 991550"/>
              <a:gd name="connsiteX7" fmla="*/ 819092 w 1525241"/>
              <a:gd name="connsiteY7" fmla="*/ 991164 h 991550"/>
              <a:gd name="connsiteX8" fmla="*/ 126280 w 1525241"/>
              <a:gd name="connsiteY8" fmla="*/ 909821 h 991550"/>
              <a:gd name="connsiteX9" fmla="*/ 22497 w 1525241"/>
              <a:gd name="connsiteY9" fmla="*/ 870552 h 991550"/>
              <a:gd name="connsiteX10" fmla="*/ 59 w 1525241"/>
              <a:gd name="connsiteY10" fmla="*/ 864943 h 991550"/>
              <a:gd name="connsiteX11" fmla="*/ 25303 w 1525241"/>
              <a:gd name="connsiteY11" fmla="*/ 749942 h 991550"/>
              <a:gd name="connsiteX12" fmla="*/ 44937 w 1525241"/>
              <a:gd name="connsiteY12" fmla="*/ 699453 h 991550"/>
              <a:gd name="connsiteX13" fmla="*/ 151524 w 1525241"/>
              <a:gd name="connsiteY13" fmla="*/ 489085 h 991550"/>
              <a:gd name="connsiteX14" fmla="*/ 367502 w 1525241"/>
              <a:gd name="connsiteY14" fmla="*/ 247863 h 991550"/>
              <a:gd name="connsiteX15" fmla="*/ 695676 w 1525241"/>
              <a:gd name="connsiteY15" fmla="*/ 23471 h 991550"/>
              <a:gd name="connsiteX16" fmla="*/ 757384 w 1525241"/>
              <a:gd name="connsiteY16" fmla="*/ 1031 h 991550"/>
              <a:gd name="connsiteX17" fmla="*/ 796653 w 1525241"/>
              <a:gd name="connsiteY17" fmla="*/ 23470 h 991550"/>
              <a:gd name="connsiteX0" fmla="*/ 796653 w 1525241"/>
              <a:gd name="connsiteY0" fmla="*/ 23470 h 991550"/>
              <a:gd name="connsiteX1" fmla="*/ 1012630 w 1525241"/>
              <a:gd name="connsiteY1" fmla="*/ 152495 h 991550"/>
              <a:gd name="connsiteX2" fmla="*/ 1192145 w 1525241"/>
              <a:gd name="connsiteY2" fmla="*/ 301156 h 991550"/>
              <a:gd name="connsiteX3" fmla="*/ 1436172 w 1525241"/>
              <a:gd name="connsiteY3" fmla="*/ 615306 h 991550"/>
              <a:gd name="connsiteX4" fmla="*/ 1503489 w 1525241"/>
              <a:gd name="connsiteY4" fmla="*/ 797624 h 991550"/>
              <a:gd name="connsiteX5" fmla="*/ 1523123 w 1525241"/>
              <a:gd name="connsiteY5" fmla="*/ 876161 h 991550"/>
              <a:gd name="connsiteX6" fmla="*/ 1523124 w 1525241"/>
              <a:gd name="connsiteY6" fmla="*/ 873358 h 991550"/>
              <a:gd name="connsiteX7" fmla="*/ 819092 w 1525241"/>
              <a:gd name="connsiteY7" fmla="*/ 991164 h 991550"/>
              <a:gd name="connsiteX8" fmla="*/ 126280 w 1525241"/>
              <a:gd name="connsiteY8" fmla="*/ 909821 h 991550"/>
              <a:gd name="connsiteX9" fmla="*/ 22497 w 1525241"/>
              <a:gd name="connsiteY9" fmla="*/ 870552 h 991550"/>
              <a:gd name="connsiteX10" fmla="*/ 59 w 1525241"/>
              <a:gd name="connsiteY10" fmla="*/ 864943 h 991550"/>
              <a:gd name="connsiteX11" fmla="*/ 25303 w 1525241"/>
              <a:gd name="connsiteY11" fmla="*/ 749942 h 991550"/>
              <a:gd name="connsiteX12" fmla="*/ 44937 w 1525241"/>
              <a:gd name="connsiteY12" fmla="*/ 699453 h 991550"/>
              <a:gd name="connsiteX13" fmla="*/ 151524 w 1525241"/>
              <a:gd name="connsiteY13" fmla="*/ 489085 h 991550"/>
              <a:gd name="connsiteX14" fmla="*/ 367502 w 1525241"/>
              <a:gd name="connsiteY14" fmla="*/ 247863 h 991550"/>
              <a:gd name="connsiteX15" fmla="*/ 695676 w 1525241"/>
              <a:gd name="connsiteY15" fmla="*/ 23471 h 991550"/>
              <a:gd name="connsiteX16" fmla="*/ 757384 w 1525241"/>
              <a:gd name="connsiteY16" fmla="*/ 1031 h 991550"/>
              <a:gd name="connsiteX17" fmla="*/ 796653 w 1525241"/>
              <a:gd name="connsiteY17" fmla="*/ 23470 h 991550"/>
              <a:gd name="connsiteX0" fmla="*/ 796653 w 1525241"/>
              <a:gd name="connsiteY0" fmla="*/ 23470 h 991550"/>
              <a:gd name="connsiteX1" fmla="*/ 1012630 w 1525241"/>
              <a:gd name="connsiteY1" fmla="*/ 152495 h 991550"/>
              <a:gd name="connsiteX2" fmla="*/ 1192145 w 1525241"/>
              <a:gd name="connsiteY2" fmla="*/ 301156 h 991550"/>
              <a:gd name="connsiteX3" fmla="*/ 1436172 w 1525241"/>
              <a:gd name="connsiteY3" fmla="*/ 615306 h 991550"/>
              <a:gd name="connsiteX4" fmla="*/ 1503489 w 1525241"/>
              <a:gd name="connsiteY4" fmla="*/ 797624 h 991550"/>
              <a:gd name="connsiteX5" fmla="*/ 1523123 w 1525241"/>
              <a:gd name="connsiteY5" fmla="*/ 876161 h 991550"/>
              <a:gd name="connsiteX6" fmla="*/ 1523124 w 1525241"/>
              <a:gd name="connsiteY6" fmla="*/ 873358 h 991550"/>
              <a:gd name="connsiteX7" fmla="*/ 819092 w 1525241"/>
              <a:gd name="connsiteY7" fmla="*/ 991164 h 991550"/>
              <a:gd name="connsiteX8" fmla="*/ 148719 w 1525241"/>
              <a:gd name="connsiteY8" fmla="*/ 909821 h 991550"/>
              <a:gd name="connsiteX9" fmla="*/ 22497 w 1525241"/>
              <a:gd name="connsiteY9" fmla="*/ 870552 h 991550"/>
              <a:gd name="connsiteX10" fmla="*/ 59 w 1525241"/>
              <a:gd name="connsiteY10" fmla="*/ 864943 h 991550"/>
              <a:gd name="connsiteX11" fmla="*/ 25303 w 1525241"/>
              <a:gd name="connsiteY11" fmla="*/ 749942 h 991550"/>
              <a:gd name="connsiteX12" fmla="*/ 44937 w 1525241"/>
              <a:gd name="connsiteY12" fmla="*/ 699453 h 991550"/>
              <a:gd name="connsiteX13" fmla="*/ 151524 w 1525241"/>
              <a:gd name="connsiteY13" fmla="*/ 489085 h 991550"/>
              <a:gd name="connsiteX14" fmla="*/ 367502 w 1525241"/>
              <a:gd name="connsiteY14" fmla="*/ 247863 h 991550"/>
              <a:gd name="connsiteX15" fmla="*/ 695676 w 1525241"/>
              <a:gd name="connsiteY15" fmla="*/ 23471 h 991550"/>
              <a:gd name="connsiteX16" fmla="*/ 757384 w 1525241"/>
              <a:gd name="connsiteY16" fmla="*/ 1031 h 991550"/>
              <a:gd name="connsiteX17" fmla="*/ 796653 w 1525241"/>
              <a:gd name="connsiteY17" fmla="*/ 23470 h 991550"/>
              <a:gd name="connsiteX0" fmla="*/ 796653 w 1525241"/>
              <a:gd name="connsiteY0" fmla="*/ 23470 h 991641"/>
              <a:gd name="connsiteX1" fmla="*/ 1012630 w 1525241"/>
              <a:gd name="connsiteY1" fmla="*/ 152495 h 991641"/>
              <a:gd name="connsiteX2" fmla="*/ 1192145 w 1525241"/>
              <a:gd name="connsiteY2" fmla="*/ 301156 h 991641"/>
              <a:gd name="connsiteX3" fmla="*/ 1436172 w 1525241"/>
              <a:gd name="connsiteY3" fmla="*/ 615306 h 991641"/>
              <a:gd name="connsiteX4" fmla="*/ 1503489 w 1525241"/>
              <a:gd name="connsiteY4" fmla="*/ 797624 h 991641"/>
              <a:gd name="connsiteX5" fmla="*/ 1523123 w 1525241"/>
              <a:gd name="connsiteY5" fmla="*/ 876161 h 991641"/>
              <a:gd name="connsiteX6" fmla="*/ 1523124 w 1525241"/>
              <a:gd name="connsiteY6" fmla="*/ 873358 h 991641"/>
              <a:gd name="connsiteX7" fmla="*/ 819092 w 1525241"/>
              <a:gd name="connsiteY7" fmla="*/ 991164 h 991641"/>
              <a:gd name="connsiteX8" fmla="*/ 148719 w 1525241"/>
              <a:gd name="connsiteY8" fmla="*/ 909821 h 991641"/>
              <a:gd name="connsiteX9" fmla="*/ 22497 w 1525241"/>
              <a:gd name="connsiteY9" fmla="*/ 870552 h 991641"/>
              <a:gd name="connsiteX10" fmla="*/ 59 w 1525241"/>
              <a:gd name="connsiteY10" fmla="*/ 864943 h 991641"/>
              <a:gd name="connsiteX11" fmla="*/ 25303 w 1525241"/>
              <a:gd name="connsiteY11" fmla="*/ 749942 h 991641"/>
              <a:gd name="connsiteX12" fmla="*/ 44937 w 1525241"/>
              <a:gd name="connsiteY12" fmla="*/ 699453 h 991641"/>
              <a:gd name="connsiteX13" fmla="*/ 151524 w 1525241"/>
              <a:gd name="connsiteY13" fmla="*/ 489085 h 991641"/>
              <a:gd name="connsiteX14" fmla="*/ 367502 w 1525241"/>
              <a:gd name="connsiteY14" fmla="*/ 247863 h 991641"/>
              <a:gd name="connsiteX15" fmla="*/ 695676 w 1525241"/>
              <a:gd name="connsiteY15" fmla="*/ 23471 h 991641"/>
              <a:gd name="connsiteX16" fmla="*/ 757384 w 1525241"/>
              <a:gd name="connsiteY16" fmla="*/ 1031 h 991641"/>
              <a:gd name="connsiteX17" fmla="*/ 796653 w 1525241"/>
              <a:gd name="connsiteY17" fmla="*/ 23470 h 991641"/>
              <a:gd name="connsiteX0" fmla="*/ 796653 w 1525241"/>
              <a:gd name="connsiteY0" fmla="*/ 23470 h 991167"/>
              <a:gd name="connsiteX1" fmla="*/ 1012630 w 1525241"/>
              <a:gd name="connsiteY1" fmla="*/ 152495 h 991167"/>
              <a:gd name="connsiteX2" fmla="*/ 1192145 w 1525241"/>
              <a:gd name="connsiteY2" fmla="*/ 301156 h 991167"/>
              <a:gd name="connsiteX3" fmla="*/ 1436172 w 1525241"/>
              <a:gd name="connsiteY3" fmla="*/ 615306 h 991167"/>
              <a:gd name="connsiteX4" fmla="*/ 1503489 w 1525241"/>
              <a:gd name="connsiteY4" fmla="*/ 797624 h 991167"/>
              <a:gd name="connsiteX5" fmla="*/ 1523123 w 1525241"/>
              <a:gd name="connsiteY5" fmla="*/ 876161 h 991167"/>
              <a:gd name="connsiteX6" fmla="*/ 1523124 w 1525241"/>
              <a:gd name="connsiteY6" fmla="*/ 873358 h 991167"/>
              <a:gd name="connsiteX7" fmla="*/ 819092 w 1525241"/>
              <a:gd name="connsiteY7" fmla="*/ 991164 h 991167"/>
              <a:gd name="connsiteX8" fmla="*/ 148719 w 1525241"/>
              <a:gd name="connsiteY8" fmla="*/ 909821 h 991167"/>
              <a:gd name="connsiteX9" fmla="*/ 22497 w 1525241"/>
              <a:gd name="connsiteY9" fmla="*/ 870552 h 991167"/>
              <a:gd name="connsiteX10" fmla="*/ 59 w 1525241"/>
              <a:gd name="connsiteY10" fmla="*/ 864943 h 991167"/>
              <a:gd name="connsiteX11" fmla="*/ 25303 w 1525241"/>
              <a:gd name="connsiteY11" fmla="*/ 749942 h 991167"/>
              <a:gd name="connsiteX12" fmla="*/ 44937 w 1525241"/>
              <a:gd name="connsiteY12" fmla="*/ 699453 h 991167"/>
              <a:gd name="connsiteX13" fmla="*/ 151524 w 1525241"/>
              <a:gd name="connsiteY13" fmla="*/ 489085 h 991167"/>
              <a:gd name="connsiteX14" fmla="*/ 367502 w 1525241"/>
              <a:gd name="connsiteY14" fmla="*/ 247863 h 991167"/>
              <a:gd name="connsiteX15" fmla="*/ 695676 w 1525241"/>
              <a:gd name="connsiteY15" fmla="*/ 23471 h 991167"/>
              <a:gd name="connsiteX16" fmla="*/ 757384 w 1525241"/>
              <a:gd name="connsiteY16" fmla="*/ 1031 h 991167"/>
              <a:gd name="connsiteX17" fmla="*/ 796653 w 1525241"/>
              <a:gd name="connsiteY17" fmla="*/ 23470 h 991167"/>
              <a:gd name="connsiteX0" fmla="*/ 796653 w 1552952"/>
              <a:gd name="connsiteY0" fmla="*/ 23470 h 992550"/>
              <a:gd name="connsiteX1" fmla="*/ 1012630 w 1552952"/>
              <a:gd name="connsiteY1" fmla="*/ 152495 h 992550"/>
              <a:gd name="connsiteX2" fmla="*/ 1192145 w 1552952"/>
              <a:gd name="connsiteY2" fmla="*/ 301156 h 992550"/>
              <a:gd name="connsiteX3" fmla="*/ 1436172 w 1552952"/>
              <a:gd name="connsiteY3" fmla="*/ 615306 h 992550"/>
              <a:gd name="connsiteX4" fmla="*/ 1503489 w 1552952"/>
              <a:gd name="connsiteY4" fmla="*/ 797624 h 992550"/>
              <a:gd name="connsiteX5" fmla="*/ 1523123 w 1552952"/>
              <a:gd name="connsiteY5" fmla="*/ 876161 h 992550"/>
              <a:gd name="connsiteX6" fmla="*/ 1523124 w 1552952"/>
              <a:gd name="connsiteY6" fmla="*/ 873358 h 992550"/>
              <a:gd name="connsiteX7" fmla="*/ 1130436 w 1552952"/>
              <a:gd name="connsiteY7" fmla="*/ 954699 h 992550"/>
              <a:gd name="connsiteX8" fmla="*/ 819092 w 1552952"/>
              <a:gd name="connsiteY8" fmla="*/ 991164 h 992550"/>
              <a:gd name="connsiteX9" fmla="*/ 148719 w 1552952"/>
              <a:gd name="connsiteY9" fmla="*/ 909821 h 992550"/>
              <a:gd name="connsiteX10" fmla="*/ 22497 w 1552952"/>
              <a:gd name="connsiteY10" fmla="*/ 870552 h 992550"/>
              <a:gd name="connsiteX11" fmla="*/ 59 w 1552952"/>
              <a:gd name="connsiteY11" fmla="*/ 864943 h 992550"/>
              <a:gd name="connsiteX12" fmla="*/ 25303 w 1552952"/>
              <a:gd name="connsiteY12" fmla="*/ 749942 h 992550"/>
              <a:gd name="connsiteX13" fmla="*/ 44937 w 1552952"/>
              <a:gd name="connsiteY13" fmla="*/ 699453 h 992550"/>
              <a:gd name="connsiteX14" fmla="*/ 151524 w 1552952"/>
              <a:gd name="connsiteY14" fmla="*/ 489085 h 992550"/>
              <a:gd name="connsiteX15" fmla="*/ 367502 w 1552952"/>
              <a:gd name="connsiteY15" fmla="*/ 247863 h 992550"/>
              <a:gd name="connsiteX16" fmla="*/ 695676 w 1552952"/>
              <a:gd name="connsiteY16" fmla="*/ 23471 h 992550"/>
              <a:gd name="connsiteX17" fmla="*/ 757384 w 1552952"/>
              <a:gd name="connsiteY17" fmla="*/ 1031 h 992550"/>
              <a:gd name="connsiteX18" fmla="*/ 796653 w 1552952"/>
              <a:gd name="connsiteY18" fmla="*/ 23470 h 992550"/>
              <a:gd name="connsiteX0" fmla="*/ 796653 w 1552952"/>
              <a:gd name="connsiteY0" fmla="*/ 23470 h 992550"/>
              <a:gd name="connsiteX1" fmla="*/ 1012630 w 1552952"/>
              <a:gd name="connsiteY1" fmla="*/ 152495 h 992550"/>
              <a:gd name="connsiteX2" fmla="*/ 1192145 w 1552952"/>
              <a:gd name="connsiteY2" fmla="*/ 301156 h 992550"/>
              <a:gd name="connsiteX3" fmla="*/ 1436172 w 1552952"/>
              <a:gd name="connsiteY3" fmla="*/ 615306 h 992550"/>
              <a:gd name="connsiteX4" fmla="*/ 1503489 w 1552952"/>
              <a:gd name="connsiteY4" fmla="*/ 797624 h 992550"/>
              <a:gd name="connsiteX5" fmla="*/ 1523123 w 1552952"/>
              <a:gd name="connsiteY5" fmla="*/ 876161 h 992550"/>
              <a:gd name="connsiteX6" fmla="*/ 1523124 w 1552952"/>
              <a:gd name="connsiteY6" fmla="*/ 873358 h 992550"/>
              <a:gd name="connsiteX7" fmla="*/ 1130436 w 1552952"/>
              <a:gd name="connsiteY7" fmla="*/ 954699 h 992550"/>
              <a:gd name="connsiteX8" fmla="*/ 819092 w 1552952"/>
              <a:gd name="connsiteY8" fmla="*/ 991164 h 992550"/>
              <a:gd name="connsiteX9" fmla="*/ 148719 w 1552952"/>
              <a:gd name="connsiteY9" fmla="*/ 909821 h 992550"/>
              <a:gd name="connsiteX10" fmla="*/ 22497 w 1552952"/>
              <a:gd name="connsiteY10" fmla="*/ 870552 h 992550"/>
              <a:gd name="connsiteX11" fmla="*/ 59 w 1552952"/>
              <a:gd name="connsiteY11" fmla="*/ 864943 h 992550"/>
              <a:gd name="connsiteX12" fmla="*/ 25303 w 1552952"/>
              <a:gd name="connsiteY12" fmla="*/ 749942 h 992550"/>
              <a:gd name="connsiteX13" fmla="*/ 44937 w 1552952"/>
              <a:gd name="connsiteY13" fmla="*/ 699453 h 992550"/>
              <a:gd name="connsiteX14" fmla="*/ 151524 w 1552952"/>
              <a:gd name="connsiteY14" fmla="*/ 489085 h 992550"/>
              <a:gd name="connsiteX15" fmla="*/ 367502 w 1552952"/>
              <a:gd name="connsiteY15" fmla="*/ 247863 h 992550"/>
              <a:gd name="connsiteX16" fmla="*/ 695676 w 1552952"/>
              <a:gd name="connsiteY16" fmla="*/ 23471 h 992550"/>
              <a:gd name="connsiteX17" fmla="*/ 757384 w 1552952"/>
              <a:gd name="connsiteY17" fmla="*/ 1031 h 992550"/>
              <a:gd name="connsiteX18" fmla="*/ 796653 w 1552952"/>
              <a:gd name="connsiteY18" fmla="*/ 23470 h 992550"/>
              <a:gd name="connsiteX0" fmla="*/ 796653 w 1552329"/>
              <a:gd name="connsiteY0" fmla="*/ 23470 h 993556"/>
              <a:gd name="connsiteX1" fmla="*/ 1012630 w 1552329"/>
              <a:gd name="connsiteY1" fmla="*/ 152495 h 993556"/>
              <a:gd name="connsiteX2" fmla="*/ 1192145 w 1552329"/>
              <a:gd name="connsiteY2" fmla="*/ 301156 h 993556"/>
              <a:gd name="connsiteX3" fmla="*/ 1436172 w 1552329"/>
              <a:gd name="connsiteY3" fmla="*/ 615306 h 993556"/>
              <a:gd name="connsiteX4" fmla="*/ 1503489 w 1552329"/>
              <a:gd name="connsiteY4" fmla="*/ 797624 h 993556"/>
              <a:gd name="connsiteX5" fmla="*/ 1523123 w 1552329"/>
              <a:gd name="connsiteY5" fmla="*/ 876161 h 993556"/>
              <a:gd name="connsiteX6" fmla="*/ 1523124 w 1552329"/>
              <a:gd name="connsiteY6" fmla="*/ 873358 h 993556"/>
              <a:gd name="connsiteX7" fmla="*/ 1138850 w 1552329"/>
              <a:gd name="connsiteY7" fmla="*/ 963114 h 993556"/>
              <a:gd name="connsiteX8" fmla="*/ 819092 w 1552329"/>
              <a:gd name="connsiteY8" fmla="*/ 991164 h 993556"/>
              <a:gd name="connsiteX9" fmla="*/ 148719 w 1552329"/>
              <a:gd name="connsiteY9" fmla="*/ 909821 h 993556"/>
              <a:gd name="connsiteX10" fmla="*/ 22497 w 1552329"/>
              <a:gd name="connsiteY10" fmla="*/ 870552 h 993556"/>
              <a:gd name="connsiteX11" fmla="*/ 59 w 1552329"/>
              <a:gd name="connsiteY11" fmla="*/ 864943 h 993556"/>
              <a:gd name="connsiteX12" fmla="*/ 25303 w 1552329"/>
              <a:gd name="connsiteY12" fmla="*/ 749942 h 993556"/>
              <a:gd name="connsiteX13" fmla="*/ 44937 w 1552329"/>
              <a:gd name="connsiteY13" fmla="*/ 699453 h 993556"/>
              <a:gd name="connsiteX14" fmla="*/ 151524 w 1552329"/>
              <a:gd name="connsiteY14" fmla="*/ 489085 h 993556"/>
              <a:gd name="connsiteX15" fmla="*/ 367502 w 1552329"/>
              <a:gd name="connsiteY15" fmla="*/ 247863 h 993556"/>
              <a:gd name="connsiteX16" fmla="*/ 695676 w 1552329"/>
              <a:gd name="connsiteY16" fmla="*/ 23471 h 993556"/>
              <a:gd name="connsiteX17" fmla="*/ 757384 w 1552329"/>
              <a:gd name="connsiteY17" fmla="*/ 1031 h 993556"/>
              <a:gd name="connsiteX18" fmla="*/ 796653 w 1552329"/>
              <a:gd name="connsiteY18" fmla="*/ 23470 h 993556"/>
              <a:gd name="connsiteX0" fmla="*/ 796653 w 1527250"/>
              <a:gd name="connsiteY0" fmla="*/ 23470 h 993556"/>
              <a:gd name="connsiteX1" fmla="*/ 1012630 w 1527250"/>
              <a:gd name="connsiteY1" fmla="*/ 152495 h 993556"/>
              <a:gd name="connsiteX2" fmla="*/ 1192145 w 1527250"/>
              <a:gd name="connsiteY2" fmla="*/ 301156 h 993556"/>
              <a:gd name="connsiteX3" fmla="*/ 1436172 w 1527250"/>
              <a:gd name="connsiteY3" fmla="*/ 615306 h 993556"/>
              <a:gd name="connsiteX4" fmla="*/ 1503489 w 1527250"/>
              <a:gd name="connsiteY4" fmla="*/ 797624 h 993556"/>
              <a:gd name="connsiteX5" fmla="*/ 1523123 w 1527250"/>
              <a:gd name="connsiteY5" fmla="*/ 876161 h 993556"/>
              <a:gd name="connsiteX6" fmla="*/ 1478245 w 1527250"/>
              <a:gd name="connsiteY6" fmla="*/ 890188 h 993556"/>
              <a:gd name="connsiteX7" fmla="*/ 1138850 w 1527250"/>
              <a:gd name="connsiteY7" fmla="*/ 963114 h 993556"/>
              <a:gd name="connsiteX8" fmla="*/ 819092 w 1527250"/>
              <a:gd name="connsiteY8" fmla="*/ 991164 h 993556"/>
              <a:gd name="connsiteX9" fmla="*/ 148719 w 1527250"/>
              <a:gd name="connsiteY9" fmla="*/ 909821 h 993556"/>
              <a:gd name="connsiteX10" fmla="*/ 22497 w 1527250"/>
              <a:gd name="connsiteY10" fmla="*/ 870552 h 993556"/>
              <a:gd name="connsiteX11" fmla="*/ 59 w 1527250"/>
              <a:gd name="connsiteY11" fmla="*/ 864943 h 993556"/>
              <a:gd name="connsiteX12" fmla="*/ 25303 w 1527250"/>
              <a:gd name="connsiteY12" fmla="*/ 749942 h 993556"/>
              <a:gd name="connsiteX13" fmla="*/ 44937 w 1527250"/>
              <a:gd name="connsiteY13" fmla="*/ 699453 h 993556"/>
              <a:gd name="connsiteX14" fmla="*/ 151524 w 1527250"/>
              <a:gd name="connsiteY14" fmla="*/ 489085 h 993556"/>
              <a:gd name="connsiteX15" fmla="*/ 367502 w 1527250"/>
              <a:gd name="connsiteY15" fmla="*/ 247863 h 993556"/>
              <a:gd name="connsiteX16" fmla="*/ 695676 w 1527250"/>
              <a:gd name="connsiteY16" fmla="*/ 23471 h 993556"/>
              <a:gd name="connsiteX17" fmla="*/ 757384 w 1527250"/>
              <a:gd name="connsiteY17" fmla="*/ 1031 h 993556"/>
              <a:gd name="connsiteX18" fmla="*/ 796653 w 1527250"/>
              <a:gd name="connsiteY18" fmla="*/ 23470 h 993556"/>
              <a:gd name="connsiteX0" fmla="*/ 796653 w 1524018"/>
              <a:gd name="connsiteY0" fmla="*/ 23470 h 993556"/>
              <a:gd name="connsiteX1" fmla="*/ 1012630 w 1524018"/>
              <a:gd name="connsiteY1" fmla="*/ 152495 h 993556"/>
              <a:gd name="connsiteX2" fmla="*/ 1192145 w 1524018"/>
              <a:gd name="connsiteY2" fmla="*/ 301156 h 993556"/>
              <a:gd name="connsiteX3" fmla="*/ 1436172 w 1524018"/>
              <a:gd name="connsiteY3" fmla="*/ 615306 h 993556"/>
              <a:gd name="connsiteX4" fmla="*/ 1503489 w 1524018"/>
              <a:gd name="connsiteY4" fmla="*/ 797624 h 993556"/>
              <a:gd name="connsiteX5" fmla="*/ 1523123 w 1524018"/>
              <a:gd name="connsiteY5" fmla="*/ 876161 h 993556"/>
              <a:gd name="connsiteX6" fmla="*/ 1478245 w 1524018"/>
              <a:gd name="connsiteY6" fmla="*/ 890188 h 993556"/>
              <a:gd name="connsiteX7" fmla="*/ 1138850 w 1524018"/>
              <a:gd name="connsiteY7" fmla="*/ 963114 h 993556"/>
              <a:gd name="connsiteX8" fmla="*/ 819092 w 1524018"/>
              <a:gd name="connsiteY8" fmla="*/ 991164 h 993556"/>
              <a:gd name="connsiteX9" fmla="*/ 148719 w 1524018"/>
              <a:gd name="connsiteY9" fmla="*/ 909821 h 993556"/>
              <a:gd name="connsiteX10" fmla="*/ 22497 w 1524018"/>
              <a:gd name="connsiteY10" fmla="*/ 870552 h 993556"/>
              <a:gd name="connsiteX11" fmla="*/ 59 w 1524018"/>
              <a:gd name="connsiteY11" fmla="*/ 864943 h 993556"/>
              <a:gd name="connsiteX12" fmla="*/ 25303 w 1524018"/>
              <a:gd name="connsiteY12" fmla="*/ 749942 h 993556"/>
              <a:gd name="connsiteX13" fmla="*/ 44937 w 1524018"/>
              <a:gd name="connsiteY13" fmla="*/ 699453 h 993556"/>
              <a:gd name="connsiteX14" fmla="*/ 151524 w 1524018"/>
              <a:gd name="connsiteY14" fmla="*/ 489085 h 993556"/>
              <a:gd name="connsiteX15" fmla="*/ 367502 w 1524018"/>
              <a:gd name="connsiteY15" fmla="*/ 247863 h 993556"/>
              <a:gd name="connsiteX16" fmla="*/ 695676 w 1524018"/>
              <a:gd name="connsiteY16" fmla="*/ 23471 h 993556"/>
              <a:gd name="connsiteX17" fmla="*/ 757384 w 1524018"/>
              <a:gd name="connsiteY17" fmla="*/ 1031 h 993556"/>
              <a:gd name="connsiteX18" fmla="*/ 796653 w 1524018"/>
              <a:gd name="connsiteY18" fmla="*/ 23470 h 993556"/>
              <a:gd name="connsiteX0" fmla="*/ 796653 w 1524018"/>
              <a:gd name="connsiteY0" fmla="*/ 23470 h 993812"/>
              <a:gd name="connsiteX1" fmla="*/ 1012630 w 1524018"/>
              <a:gd name="connsiteY1" fmla="*/ 152495 h 993812"/>
              <a:gd name="connsiteX2" fmla="*/ 1192145 w 1524018"/>
              <a:gd name="connsiteY2" fmla="*/ 301156 h 993812"/>
              <a:gd name="connsiteX3" fmla="*/ 1436172 w 1524018"/>
              <a:gd name="connsiteY3" fmla="*/ 615306 h 993812"/>
              <a:gd name="connsiteX4" fmla="*/ 1503489 w 1524018"/>
              <a:gd name="connsiteY4" fmla="*/ 797624 h 993812"/>
              <a:gd name="connsiteX5" fmla="*/ 1523123 w 1524018"/>
              <a:gd name="connsiteY5" fmla="*/ 876161 h 993812"/>
              <a:gd name="connsiteX6" fmla="*/ 1478245 w 1524018"/>
              <a:gd name="connsiteY6" fmla="*/ 890188 h 993812"/>
              <a:gd name="connsiteX7" fmla="*/ 1138850 w 1524018"/>
              <a:gd name="connsiteY7" fmla="*/ 963114 h 993812"/>
              <a:gd name="connsiteX8" fmla="*/ 819092 w 1524018"/>
              <a:gd name="connsiteY8" fmla="*/ 991164 h 993812"/>
              <a:gd name="connsiteX9" fmla="*/ 148719 w 1524018"/>
              <a:gd name="connsiteY9" fmla="*/ 909821 h 993812"/>
              <a:gd name="connsiteX10" fmla="*/ 22497 w 1524018"/>
              <a:gd name="connsiteY10" fmla="*/ 870552 h 993812"/>
              <a:gd name="connsiteX11" fmla="*/ 59 w 1524018"/>
              <a:gd name="connsiteY11" fmla="*/ 864943 h 993812"/>
              <a:gd name="connsiteX12" fmla="*/ 25303 w 1524018"/>
              <a:gd name="connsiteY12" fmla="*/ 749942 h 993812"/>
              <a:gd name="connsiteX13" fmla="*/ 44937 w 1524018"/>
              <a:gd name="connsiteY13" fmla="*/ 699453 h 993812"/>
              <a:gd name="connsiteX14" fmla="*/ 151524 w 1524018"/>
              <a:gd name="connsiteY14" fmla="*/ 489085 h 993812"/>
              <a:gd name="connsiteX15" fmla="*/ 367502 w 1524018"/>
              <a:gd name="connsiteY15" fmla="*/ 247863 h 993812"/>
              <a:gd name="connsiteX16" fmla="*/ 695676 w 1524018"/>
              <a:gd name="connsiteY16" fmla="*/ 23471 h 993812"/>
              <a:gd name="connsiteX17" fmla="*/ 757384 w 1524018"/>
              <a:gd name="connsiteY17" fmla="*/ 1031 h 993812"/>
              <a:gd name="connsiteX18" fmla="*/ 796653 w 1524018"/>
              <a:gd name="connsiteY18" fmla="*/ 23470 h 993812"/>
              <a:gd name="connsiteX0" fmla="*/ 796653 w 1524018"/>
              <a:gd name="connsiteY0" fmla="*/ 23470 h 994115"/>
              <a:gd name="connsiteX1" fmla="*/ 1012630 w 1524018"/>
              <a:gd name="connsiteY1" fmla="*/ 152495 h 994115"/>
              <a:gd name="connsiteX2" fmla="*/ 1192145 w 1524018"/>
              <a:gd name="connsiteY2" fmla="*/ 301156 h 994115"/>
              <a:gd name="connsiteX3" fmla="*/ 1436172 w 1524018"/>
              <a:gd name="connsiteY3" fmla="*/ 615306 h 994115"/>
              <a:gd name="connsiteX4" fmla="*/ 1503489 w 1524018"/>
              <a:gd name="connsiteY4" fmla="*/ 797624 h 994115"/>
              <a:gd name="connsiteX5" fmla="*/ 1523123 w 1524018"/>
              <a:gd name="connsiteY5" fmla="*/ 876161 h 994115"/>
              <a:gd name="connsiteX6" fmla="*/ 1478245 w 1524018"/>
              <a:gd name="connsiteY6" fmla="*/ 890188 h 994115"/>
              <a:gd name="connsiteX7" fmla="*/ 1138850 w 1524018"/>
              <a:gd name="connsiteY7" fmla="*/ 963114 h 994115"/>
              <a:gd name="connsiteX8" fmla="*/ 819092 w 1524018"/>
              <a:gd name="connsiteY8" fmla="*/ 991164 h 994115"/>
              <a:gd name="connsiteX9" fmla="*/ 148719 w 1524018"/>
              <a:gd name="connsiteY9" fmla="*/ 909821 h 994115"/>
              <a:gd name="connsiteX10" fmla="*/ 22497 w 1524018"/>
              <a:gd name="connsiteY10" fmla="*/ 870552 h 994115"/>
              <a:gd name="connsiteX11" fmla="*/ 59 w 1524018"/>
              <a:gd name="connsiteY11" fmla="*/ 864943 h 994115"/>
              <a:gd name="connsiteX12" fmla="*/ 25303 w 1524018"/>
              <a:gd name="connsiteY12" fmla="*/ 749942 h 994115"/>
              <a:gd name="connsiteX13" fmla="*/ 44937 w 1524018"/>
              <a:gd name="connsiteY13" fmla="*/ 699453 h 994115"/>
              <a:gd name="connsiteX14" fmla="*/ 151524 w 1524018"/>
              <a:gd name="connsiteY14" fmla="*/ 489085 h 994115"/>
              <a:gd name="connsiteX15" fmla="*/ 367502 w 1524018"/>
              <a:gd name="connsiteY15" fmla="*/ 247863 h 994115"/>
              <a:gd name="connsiteX16" fmla="*/ 695676 w 1524018"/>
              <a:gd name="connsiteY16" fmla="*/ 23471 h 994115"/>
              <a:gd name="connsiteX17" fmla="*/ 757384 w 1524018"/>
              <a:gd name="connsiteY17" fmla="*/ 1031 h 994115"/>
              <a:gd name="connsiteX18" fmla="*/ 796653 w 1524018"/>
              <a:gd name="connsiteY18" fmla="*/ 23470 h 994115"/>
              <a:gd name="connsiteX0" fmla="*/ 796653 w 1524018"/>
              <a:gd name="connsiteY0" fmla="*/ 23470 h 994115"/>
              <a:gd name="connsiteX1" fmla="*/ 1012630 w 1524018"/>
              <a:gd name="connsiteY1" fmla="*/ 152495 h 994115"/>
              <a:gd name="connsiteX2" fmla="*/ 1192145 w 1524018"/>
              <a:gd name="connsiteY2" fmla="*/ 301156 h 994115"/>
              <a:gd name="connsiteX3" fmla="*/ 1436172 w 1524018"/>
              <a:gd name="connsiteY3" fmla="*/ 615306 h 994115"/>
              <a:gd name="connsiteX4" fmla="*/ 1503489 w 1524018"/>
              <a:gd name="connsiteY4" fmla="*/ 797624 h 994115"/>
              <a:gd name="connsiteX5" fmla="*/ 1523123 w 1524018"/>
              <a:gd name="connsiteY5" fmla="*/ 876161 h 994115"/>
              <a:gd name="connsiteX6" fmla="*/ 1478245 w 1524018"/>
              <a:gd name="connsiteY6" fmla="*/ 890188 h 994115"/>
              <a:gd name="connsiteX7" fmla="*/ 1138850 w 1524018"/>
              <a:gd name="connsiteY7" fmla="*/ 963114 h 994115"/>
              <a:gd name="connsiteX8" fmla="*/ 782628 w 1524018"/>
              <a:gd name="connsiteY8" fmla="*/ 991164 h 994115"/>
              <a:gd name="connsiteX9" fmla="*/ 148719 w 1524018"/>
              <a:gd name="connsiteY9" fmla="*/ 909821 h 994115"/>
              <a:gd name="connsiteX10" fmla="*/ 22497 w 1524018"/>
              <a:gd name="connsiteY10" fmla="*/ 870552 h 994115"/>
              <a:gd name="connsiteX11" fmla="*/ 59 w 1524018"/>
              <a:gd name="connsiteY11" fmla="*/ 864943 h 994115"/>
              <a:gd name="connsiteX12" fmla="*/ 25303 w 1524018"/>
              <a:gd name="connsiteY12" fmla="*/ 749942 h 994115"/>
              <a:gd name="connsiteX13" fmla="*/ 44937 w 1524018"/>
              <a:gd name="connsiteY13" fmla="*/ 699453 h 994115"/>
              <a:gd name="connsiteX14" fmla="*/ 151524 w 1524018"/>
              <a:gd name="connsiteY14" fmla="*/ 489085 h 994115"/>
              <a:gd name="connsiteX15" fmla="*/ 367502 w 1524018"/>
              <a:gd name="connsiteY15" fmla="*/ 247863 h 994115"/>
              <a:gd name="connsiteX16" fmla="*/ 695676 w 1524018"/>
              <a:gd name="connsiteY16" fmla="*/ 23471 h 994115"/>
              <a:gd name="connsiteX17" fmla="*/ 757384 w 1524018"/>
              <a:gd name="connsiteY17" fmla="*/ 1031 h 994115"/>
              <a:gd name="connsiteX18" fmla="*/ 796653 w 1524018"/>
              <a:gd name="connsiteY18" fmla="*/ 23470 h 994115"/>
              <a:gd name="connsiteX0" fmla="*/ 796653 w 1524018"/>
              <a:gd name="connsiteY0" fmla="*/ 23470 h 989405"/>
              <a:gd name="connsiteX1" fmla="*/ 1012630 w 1524018"/>
              <a:gd name="connsiteY1" fmla="*/ 152495 h 989405"/>
              <a:gd name="connsiteX2" fmla="*/ 1192145 w 1524018"/>
              <a:gd name="connsiteY2" fmla="*/ 301156 h 989405"/>
              <a:gd name="connsiteX3" fmla="*/ 1436172 w 1524018"/>
              <a:gd name="connsiteY3" fmla="*/ 615306 h 989405"/>
              <a:gd name="connsiteX4" fmla="*/ 1503489 w 1524018"/>
              <a:gd name="connsiteY4" fmla="*/ 797624 h 989405"/>
              <a:gd name="connsiteX5" fmla="*/ 1523123 w 1524018"/>
              <a:gd name="connsiteY5" fmla="*/ 876161 h 989405"/>
              <a:gd name="connsiteX6" fmla="*/ 1478245 w 1524018"/>
              <a:gd name="connsiteY6" fmla="*/ 890188 h 989405"/>
              <a:gd name="connsiteX7" fmla="*/ 1138850 w 1524018"/>
              <a:gd name="connsiteY7" fmla="*/ 963114 h 989405"/>
              <a:gd name="connsiteX8" fmla="*/ 788238 w 1524018"/>
              <a:gd name="connsiteY8" fmla="*/ 985554 h 989405"/>
              <a:gd name="connsiteX9" fmla="*/ 148719 w 1524018"/>
              <a:gd name="connsiteY9" fmla="*/ 909821 h 989405"/>
              <a:gd name="connsiteX10" fmla="*/ 22497 w 1524018"/>
              <a:gd name="connsiteY10" fmla="*/ 870552 h 989405"/>
              <a:gd name="connsiteX11" fmla="*/ 59 w 1524018"/>
              <a:gd name="connsiteY11" fmla="*/ 864943 h 989405"/>
              <a:gd name="connsiteX12" fmla="*/ 25303 w 1524018"/>
              <a:gd name="connsiteY12" fmla="*/ 749942 h 989405"/>
              <a:gd name="connsiteX13" fmla="*/ 44937 w 1524018"/>
              <a:gd name="connsiteY13" fmla="*/ 699453 h 989405"/>
              <a:gd name="connsiteX14" fmla="*/ 151524 w 1524018"/>
              <a:gd name="connsiteY14" fmla="*/ 489085 h 989405"/>
              <a:gd name="connsiteX15" fmla="*/ 367502 w 1524018"/>
              <a:gd name="connsiteY15" fmla="*/ 247863 h 989405"/>
              <a:gd name="connsiteX16" fmla="*/ 695676 w 1524018"/>
              <a:gd name="connsiteY16" fmla="*/ 23471 h 989405"/>
              <a:gd name="connsiteX17" fmla="*/ 757384 w 1524018"/>
              <a:gd name="connsiteY17" fmla="*/ 1031 h 989405"/>
              <a:gd name="connsiteX18" fmla="*/ 796653 w 1524018"/>
              <a:gd name="connsiteY18" fmla="*/ 23470 h 989405"/>
              <a:gd name="connsiteX0" fmla="*/ 796653 w 1524018"/>
              <a:gd name="connsiteY0" fmla="*/ 23470 h 988183"/>
              <a:gd name="connsiteX1" fmla="*/ 1012630 w 1524018"/>
              <a:gd name="connsiteY1" fmla="*/ 152495 h 988183"/>
              <a:gd name="connsiteX2" fmla="*/ 1192145 w 1524018"/>
              <a:gd name="connsiteY2" fmla="*/ 301156 h 988183"/>
              <a:gd name="connsiteX3" fmla="*/ 1436172 w 1524018"/>
              <a:gd name="connsiteY3" fmla="*/ 615306 h 988183"/>
              <a:gd name="connsiteX4" fmla="*/ 1503489 w 1524018"/>
              <a:gd name="connsiteY4" fmla="*/ 797624 h 988183"/>
              <a:gd name="connsiteX5" fmla="*/ 1523123 w 1524018"/>
              <a:gd name="connsiteY5" fmla="*/ 876161 h 988183"/>
              <a:gd name="connsiteX6" fmla="*/ 1478245 w 1524018"/>
              <a:gd name="connsiteY6" fmla="*/ 890188 h 988183"/>
              <a:gd name="connsiteX7" fmla="*/ 1138850 w 1524018"/>
              <a:gd name="connsiteY7" fmla="*/ 963114 h 988183"/>
              <a:gd name="connsiteX8" fmla="*/ 788238 w 1524018"/>
              <a:gd name="connsiteY8" fmla="*/ 985554 h 988183"/>
              <a:gd name="connsiteX9" fmla="*/ 148719 w 1524018"/>
              <a:gd name="connsiteY9" fmla="*/ 909821 h 988183"/>
              <a:gd name="connsiteX10" fmla="*/ 22497 w 1524018"/>
              <a:gd name="connsiteY10" fmla="*/ 870552 h 988183"/>
              <a:gd name="connsiteX11" fmla="*/ 59 w 1524018"/>
              <a:gd name="connsiteY11" fmla="*/ 864943 h 988183"/>
              <a:gd name="connsiteX12" fmla="*/ 25303 w 1524018"/>
              <a:gd name="connsiteY12" fmla="*/ 749942 h 988183"/>
              <a:gd name="connsiteX13" fmla="*/ 44937 w 1524018"/>
              <a:gd name="connsiteY13" fmla="*/ 699453 h 988183"/>
              <a:gd name="connsiteX14" fmla="*/ 151524 w 1524018"/>
              <a:gd name="connsiteY14" fmla="*/ 489085 h 988183"/>
              <a:gd name="connsiteX15" fmla="*/ 367502 w 1524018"/>
              <a:gd name="connsiteY15" fmla="*/ 247863 h 988183"/>
              <a:gd name="connsiteX16" fmla="*/ 695676 w 1524018"/>
              <a:gd name="connsiteY16" fmla="*/ 23471 h 988183"/>
              <a:gd name="connsiteX17" fmla="*/ 757384 w 1524018"/>
              <a:gd name="connsiteY17" fmla="*/ 1031 h 988183"/>
              <a:gd name="connsiteX18" fmla="*/ 796653 w 1524018"/>
              <a:gd name="connsiteY18" fmla="*/ 23470 h 988183"/>
              <a:gd name="connsiteX0" fmla="*/ 796653 w 1523843"/>
              <a:gd name="connsiteY0" fmla="*/ 23470 h 988183"/>
              <a:gd name="connsiteX1" fmla="*/ 1012630 w 1523843"/>
              <a:gd name="connsiteY1" fmla="*/ 152495 h 988183"/>
              <a:gd name="connsiteX2" fmla="*/ 1192145 w 1523843"/>
              <a:gd name="connsiteY2" fmla="*/ 301156 h 988183"/>
              <a:gd name="connsiteX3" fmla="*/ 1436172 w 1523843"/>
              <a:gd name="connsiteY3" fmla="*/ 615306 h 988183"/>
              <a:gd name="connsiteX4" fmla="*/ 1503489 w 1523843"/>
              <a:gd name="connsiteY4" fmla="*/ 797624 h 988183"/>
              <a:gd name="connsiteX5" fmla="*/ 1523123 w 1523843"/>
              <a:gd name="connsiteY5" fmla="*/ 876161 h 988183"/>
              <a:gd name="connsiteX6" fmla="*/ 1475440 w 1523843"/>
              <a:gd name="connsiteY6" fmla="*/ 895798 h 988183"/>
              <a:gd name="connsiteX7" fmla="*/ 1138850 w 1523843"/>
              <a:gd name="connsiteY7" fmla="*/ 963114 h 988183"/>
              <a:gd name="connsiteX8" fmla="*/ 788238 w 1523843"/>
              <a:gd name="connsiteY8" fmla="*/ 985554 h 988183"/>
              <a:gd name="connsiteX9" fmla="*/ 148719 w 1523843"/>
              <a:gd name="connsiteY9" fmla="*/ 909821 h 988183"/>
              <a:gd name="connsiteX10" fmla="*/ 22497 w 1523843"/>
              <a:gd name="connsiteY10" fmla="*/ 870552 h 988183"/>
              <a:gd name="connsiteX11" fmla="*/ 59 w 1523843"/>
              <a:gd name="connsiteY11" fmla="*/ 864943 h 988183"/>
              <a:gd name="connsiteX12" fmla="*/ 25303 w 1523843"/>
              <a:gd name="connsiteY12" fmla="*/ 749942 h 988183"/>
              <a:gd name="connsiteX13" fmla="*/ 44937 w 1523843"/>
              <a:gd name="connsiteY13" fmla="*/ 699453 h 988183"/>
              <a:gd name="connsiteX14" fmla="*/ 151524 w 1523843"/>
              <a:gd name="connsiteY14" fmla="*/ 489085 h 988183"/>
              <a:gd name="connsiteX15" fmla="*/ 367502 w 1523843"/>
              <a:gd name="connsiteY15" fmla="*/ 247863 h 988183"/>
              <a:gd name="connsiteX16" fmla="*/ 695676 w 1523843"/>
              <a:gd name="connsiteY16" fmla="*/ 23471 h 988183"/>
              <a:gd name="connsiteX17" fmla="*/ 757384 w 1523843"/>
              <a:gd name="connsiteY17" fmla="*/ 1031 h 988183"/>
              <a:gd name="connsiteX18" fmla="*/ 796653 w 1523843"/>
              <a:gd name="connsiteY18" fmla="*/ 23470 h 988183"/>
              <a:gd name="connsiteX0" fmla="*/ 796653 w 1523843"/>
              <a:gd name="connsiteY0" fmla="*/ 23470 h 985574"/>
              <a:gd name="connsiteX1" fmla="*/ 1012630 w 1523843"/>
              <a:gd name="connsiteY1" fmla="*/ 152495 h 985574"/>
              <a:gd name="connsiteX2" fmla="*/ 1192145 w 1523843"/>
              <a:gd name="connsiteY2" fmla="*/ 301156 h 985574"/>
              <a:gd name="connsiteX3" fmla="*/ 1436172 w 1523843"/>
              <a:gd name="connsiteY3" fmla="*/ 615306 h 985574"/>
              <a:gd name="connsiteX4" fmla="*/ 1503489 w 1523843"/>
              <a:gd name="connsiteY4" fmla="*/ 797624 h 985574"/>
              <a:gd name="connsiteX5" fmla="*/ 1523123 w 1523843"/>
              <a:gd name="connsiteY5" fmla="*/ 876161 h 985574"/>
              <a:gd name="connsiteX6" fmla="*/ 1475440 w 1523843"/>
              <a:gd name="connsiteY6" fmla="*/ 895798 h 985574"/>
              <a:gd name="connsiteX7" fmla="*/ 1138850 w 1523843"/>
              <a:gd name="connsiteY7" fmla="*/ 963114 h 985574"/>
              <a:gd name="connsiteX8" fmla="*/ 788238 w 1523843"/>
              <a:gd name="connsiteY8" fmla="*/ 985554 h 985574"/>
              <a:gd name="connsiteX9" fmla="*/ 415185 w 1523843"/>
              <a:gd name="connsiteY9" fmla="*/ 965918 h 985574"/>
              <a:gd name="connsiteX10" fmla="*/ 148719 w 1523843"/>
              <a:gd name="connsiteY10" fmla="*/ 909821 h 985574"/>
              <a:gd name="connsiteX11" fmla="*/ 22497 w 1523843"/>
              <a:gd name="connsiteY11" fmla="*/ 870552 h 985574"/>
              <a:gd name="connsiteX12" fmla="*/ 59 w 1523843"/>
              <a:gd name="connsiteY12" fmla="*/ 864943 h 985574"/>
              <a:gd name="connsiteX13" fmla="*/ 25303 w 1523843"/>
              <a:gd name="connsiteY13" fmla="*/ 749942 h 985574"/>
              <a:gd name="connsiteX14" fmla="*/ 44937 w 1523843"/>
              <a:gd name="connsiteY14" fmla="*/ 699453 h 985574"/>
              <a:gd name="connsiteX15" fmla="*/ 151524 w 1523843"/>
              <a:gd name="connsiteY15" fmla="*/ 489085 h 985574"/>
              <a:gd name="connsiteX16" fmla="*/ 367502 w 1523843"/>
              <a:gd name="connsiteY16" fmla="*/ 247863 h 985574"/>
              <a:gd name="connsiteX17" fmla="*/ 695676 w 1523843"/>
              <a:gd name="connsiteY17" fmla="*/ 23471 h 985574"/>
              <a:gd name="connsiteX18" fmla="*/ 757384 w 1523843"/>
              <a:gd name="connsiteY18" fmla="*/ 1031 h 985574"/>
              <a:gd name="connsiteX19" fmla="*/ 796653 w 1523843"/>
              <a:gd name="connsiteY19" fmla="*/ 23470 h 985574"/>
              <a:gd name="connsiteX0" fmla="*/ 796653 w 1523843"/>
              <a:gd name="connsiteY0" fmla="*/ 23470 h 985574"/>
              <a:gd name="connsiteX1" fmla="*/ 1012630 w 1523843"/>
              <a:gd name="connsiteY1" fmla="*/ 152495 h 985574"/>
              <a:gd name="connsiteX2" fmla="*/ 1192145 w 1523843"/>
              <a:gd name="connsiteY2" fmla="*/ 301156 h 985574"/>
              <a:gd name="connsiteX3" fmla="*/ 1318365 w 1523843"/>
              <a:gd name="connsiteY3" fmla="*/ 447010 h 985574"/>
              <a:gd name="connsiteX4" fmla="*/ 1436172 w 1523843"/>
              <a:gd name="connsiteY4" fmla="*/ 615306 h 985574"/>
              <a:gd name="connsiteX5" fmla="*/ 1503489 w 1523843"/>
              <a:gd name="connsiteY5" fmla="*/ 797624 h 985574"/>
              <a:gd name="connsiteX6" fmla="*/ 1523123 w 1523843"/>
              <a:gd name="connsiteY6" fmla="*/ 876161 h 985574"/>
              <a:gd name="connsiteX7" fmla="*/ 1475440 w 1523843"/>
              <a:gd name="connsiteY7" fmla="*/ 895798 h 985574"/>
              <a:gd name="connsiteX8" fmla="*/ 1138850 w 1523843"/>
              <a:gd name="connsiteY8" fmla="*/ 963114 h 985574"/>
              <a:gd name="connsiteX9" fmla="*/ 788238 w 1523843"/>
              <a:gd name="connsiteY9" fmla="*/ 985554 h 985574"/>
              <a:gd name="connsiteX10" fmla="*/ 415185 w 1523843"/>
              <a:gd name="connsiteY10" fmla="*/ 965918 h 985574"/>
              <a:gd name="connsiteX11" fmla="*/ 148719 w 1523843"/>
              <a:gd name="connsiteY11" fmla="*/ 909821 h 985574"/>
              <a:gd name="connsiteX12" fmla="*/ 22497 w 1523843"/>
              <a:gd name="connsiteY12" fmla="*/ 870552 h 985574"/>
              <a:gd name="connsiteX13" fmla="*/ 59 w 1523843"/>
              <a:gd name="connsiteY13" fmla="*/ 864943 h 985574"/>
              <a:gd name="connsiteX14" fmla="*/ 25303 w 1523843"/>
              <a:gd name="connsiteY14" fmla="*/ 749942 h 985574"/>
              <a:gd name="connsiteX15" fmla="*/ 44937 w 1523843"/>
              <a:gd name="connsiteY15" fmla="*/ 699453 h 985574"/>
              <a:gd name="connsiteX16" fmla="*/ 151524 w 1523843"/>
              <a:gd name="connsiteY16" fmla="*/ 489085 h 985574"/>
              <a:gd name="connsiteX17" fmla="*/ 367502 w 1523843"/>
              <a:gd name="connsiteY17" fmla="*/ 247863 h 985574"/>
              <a:gd name="connsiteX18" fmla="*/ 695676 w 1523843"/>
              <a:gd name="connsiteY18" fmla="*/ 23471 h 985574"/>
              <a:gd name="connsiteX19" fmla="*/ 757384 w 1523843"/>
              <a:gd name="connsiteY19" fmla="*/ 1031 h 985574"/>
              <a:gd name="connsiteX20" fmla="*/ 796653 w 1523843"/>
              <a:gd name="connsiteY20" fmla="*/ 23470 h 985574"/>
              <a:gd name="connsiteX0" fmla="*/ 796653 w 1523843"/>
              <a:gd name="connsiteY0" fmla="*/ 23470 h 985574"/>
              <a:gd name="connsiteX1" fmla="*/ 1012630 w 1523843"/>
              <a:gd name="connsiteY1" fmla="*/ 152495 h 985574"/>
              <a:gd name="connsiteX2" fmla="*/ 1192145 w 1523843"/>
              <a:gd name="connsiteY2" fmla="*/ 301156 h 985574"/>
              <a:gd name="connsiteX3" fmla="*/ 1318365 w 1523843"/>
              <a:gd name="connsiteY3" fmla="*/ 447010 h 985574"/>
              <a:gd name="connsiteX4" fmla="*/ 1436172 w 1523843"/>
              <a:gd name="connsiteY4" fmla="*/ 615306 h 985574"/>
              <a:gd name="connsiteX5" fmla="*/ 1478245 w 1523843"/>
              <a:gd name="connsiteY5" fmla="*/ 719086 h 985574"/>
              <a:gd name="connsiteX6" fmla="*/ 1503489 w 1523843"/>
              <a:gd name="connsiteY6" fmla="*/ 797624 h 985574"/>
              <a:gd name="connsiteX7" fmla="*/ 1523123 w 1523843"/>
              <a:gd name="connsiteY7" fmla="*/ 876161 h 985574"/>
              <a:gd name="connsiteX8" fmla="*/ 1475440 w 1523843"/>
              <a:gd name="connsiteY8" fmla="*/ 895798 h 985574"/>
              <a:gd name="connsiteX9" fmla="*/ 1138850 w 1523843"/>
              <a:gd name="connsiteY9" fmla="*/ 963114 h 985574"/>
              <a:gd name="connsiteX10" fmla="*/ 788238 w 1523843"/>
              <a:gd name="connsiteY10" fmla="*/ 985554 h 985574"/>
              <a:gd name="connsiteX11" fmla="*/ 415185 w 1523843"/>
              <a:gd name="connsiteY11" fmla="*/ 965918 h 985574"/>
              <a:gd name="connsiteX12" fmla="*/ 148719 w 1523843"/>
              <a:gd name="connsiteY12" fmla="*/ 909821 h 985574"/>
              <a:gd name="connsiteX13" fmla="*/ 22497 w 1523843"/>
              <a:gd name="connsiteY13" fmla="*/ 870552 h 985574"/>
              <a:gd name="connsiteX14" fmla="*/ 59 w 1523843"/>
              <a:gd name="connsiteY14" fmla="*/ 864943 h 985574"/>
              <a:gd name="connsiteX15" fmla="*/ 25303 w 1523843"/>
              <a:gd name="connsiteY15" fmla="*/ 749942 h 985574"/>
              <a:gd name="connsiteX16" fmla="*/ 44937 w 1523843"/>
              <a:gd name="connsiteY16" fmla="*/ 699453 h 985574"/>
              <a:gd name="connsiteX17" fmla="*/ 151524 w 1523843"/>
              <a:gd name="connsiteY17" fmla="*/ 489085 h 985574"/>
              <a:gd name="connsiteX18" fmla="*/ 367502 w 1523843"/>
              <a:gd name="connsiteY18" fmla="*/ 247863 h 985574"/>
              <a:gd name="connsiteX19" fmla="*/ 695676 w 1523843"/>
              <a:gd name="connsiteY19" fmla="*/ 23471 h 985574"/>
              <a:gd name="connsiteX20" fmla="*/ 757384 w 1523843"/>
              <a:gd name="connsiteY20" fmla="*/ 1031 h 985574"/>
              <a:gd name="connsiteX21" fmla="*/ 796653 w 1523843"/>
              <a:gd name="connsiteY21" fmla="*/ 23470 h 985574"/>
              <a:gd name="connsiteX0" fmla="*/ 796653 w 1523843"/>
              <a:gd name="connsiteY0" fmla="*/ 26892 h 988996"/>
              <a:gd name="connsiteX1" fmla="*/ 1012630 w 1523843"/>
              <a:gd name="connsiteY1" fmla="*/ 155917 h 988996"/>
              <a:gd name="connsiteX2" fmla="*/ 1192145 w 1523843"/>
              <a:gd name="connsiteY2" fmla="*/ 304578 h 988996"/>
              <a:gd name="connsiteX3" fmla="*/ 1318365 w 1523843"/>
              <a:gd name="connsiteY3" fmla="*/ 450432 h 988996"/>
              <a:gd name="connsiteX4" fmla="*/ 1436172 w 1523843"/>
              <a:gd name="connsiteY4" fmla="*/ 618728 h 988996"/>
              <a:gd name="connsiteX5" fmla="*/ 1478245 w 1523843"/>
              <a:gd name="connsiteY5" fmla="*/ 722508 h 988996"/>
              <a:gd name="connsiteX6" fmla="*/ 1503489 w 1523843"/>
              <a:gd name="connsiteY6" fmla="*/ 801046 h 988996"/>
              <a:gd name="connsiteX7" fmla="*/ 1523123 w 1523843"/>
              <a:gd name="connsiteY7" fmla="*/ 879583 h 988996"/>
              <a:gd name="connsiteX8" fmla="*/ 1475440 w 1523843"/>
              <a:gd name="connsiteY8" fmla="*/ 899220 h 988996"/>
              <a:gd name="connsiteX9" fmla="*/ 1138850 w 1523843"/>
              <a:gd name="connsiteY9" fmla="*/ 966536 h 988996"/>
              <a:gd name="connsiteX10" fmla="*/ 788238 w 1523843"/>
              <a:gd name="connsiteY10" fmla="*/ 988976 h 988996"/>
              <a:gd name="connsiteX11" fmla="*/ 415185 w 1523843"/>
              <a:gd name="connsiteY11" fmla="*/ 969340 h 988996"/>
              <a:gd name="connsiteX12" fmla="*/ 148719 w 1523843"/>
              <a:gd name="connsiteY12" fmla="*/ 913243 h 988996"/>
              <a:gd name="connsiteX13" fmla="*/ 22497 w 1523843"/>
              <a:gd name="connsiteY13" fmla="*/ 873974 h 988996"/>
              <a:gd name="connsiteX14" fmla="*/ 59 w 1523843"/>
              <a:gd name="connsiteY14" fmla="*/ 868365 h 988996"/>
              <a:gd name="connsiteX15" fmla="*/ 25303 w 1523843"/>
              <a:gd name="connsiteY15" fmla="*/ 753364 h 988996"/>
              <a:gd name="connsiteX16" fmla="*/ 44937 w 1523843"/>
              <a:gd name="connsiteY16" fmla="*/ 702875 h 988996"/>
              <a:gd name="connsiteX17" fmla="*/ 151524 w 1523843"/>
              <a:gd name="connsiteY17" fmla="*/ 492507 h 988996"/>
              <a:gd name="connsiteX18" fmla="*/ 367502 w 1523843"/>
              <a:gd name="connsiteY18" fmla="*/ 251285 h 988996"/>
              <a:gd name="connsiteX19" fmla="*/ 695676 w 1523843"/>
              <a:gd name="connsiteY19" fmla="*/ 26893 h 988996"/>
              <a:gd name="connsiteX20" fmla="*/ 723725 w 1523843"/>
              <a:gd name="connsiteY20" fmla="*/ 1646 h 988996"/>
              <a:gd name="connsiteX21" fmla="*/ 757384 w 1523843"/>
              <a:gd name="connsiteY21" fmla="*/ 4453 h 988996"/>
              <a:gd name="connsiteX22" fmla="*/ 796653 w 1523843"/>
              <a:gd name="connsiteY22" fmla="*/ 26892 h 988996"/>
              <a:gd name="connsiteX0" fmla="*/ 796653 w 1524641"/>
              <a:gd name="connsiteY0" fmla="*/ 26892 h 988996"/>
              <a:gd name="connsiteX1" fmla="*/ 1012630 w 1524641"/>
              <a:gd name="connsiteY1" fmla="*/ 155917 h 988996"/>
              <a:gd name="connsiteX2" fmla="*/ 1192145 w 1524641"/>
              <a:gd name="connsiteY2" fmla="*/ 304578 h 988996"/>
              <a:gd name="connsiteX3" fmla="*/ 1318365 w 1524641"/>
              <a:gd name="connsiteY3" fmla="*/ 450432 h 988996"/>
              <a:gd name="connsiteX4" fmla="*/ 1436172 w 1524641"/>
              <a:gd name="connsiteY4" fmla="*/ 618728 h 988996"/>
              <a:gd name="connsiteX5" fmla="*/ 1478245 w 1524641"/>
              <a:gd name="connsiteY5" fmla="*/ 722508 h 988996"/>
              <a:gd name="connsiteX6" fmla="*/ 1503489 w 1524641"/>
              <a:gd name="connsiteY6" fmla="*/ 801046 h 988996"/>
              <a:gd name="connsiteX7" fmla="*/ 1520742 w 1524641"/>
              <a:gd name="connsiteY7" fmla="*/ 879583 h 988996"/>
              <a:gd name="connsiteX8" fmla="*/ 1475440 w 1524641"/>
              <a:gd name="connsiteY8" fmla="*/ 899220 h 988996"/>
              <a:gd name="connsiteX9" fmla="*/ 1138850 w 1524641"/>
              <a:gd name="connsiteY9" fmla="*/ 966536 h 988996"/>
              <a:gd name="connsiteX10" fmla="*/ 788238 w 1524641"/>
              <a:gd name="connsiteY10" fmla="*/ 988976 h 988996"/>
              <a:gd name="connsiteX11" fmla="*/ 415185 w 1524641"/>
              <a:gd name="connsiteY11" fmla="*/ 969340 h 988996"/>
              <a:gd name="connsiteX12" fmla="*/ 148719 w 1524641"/>
              <a:gd name="connsiteY12" fmla="*/ 913243 h 988996"/>
              <a:gd name="connsiteX13" fmla="*/ 22497 w 1524641"/>
              <a:gd name="connsiteY13" fmla="*/ 873974 h 988996"/>
              <a:gd name="connsiteX14" fmla="*/ 59 w 1524641"/>
              <a:gd name="connsiteY14" fmla="*/ 868365 h 988996"/>
              <a:gd name="connsiteX15" fmla="*/ 25303 w 1524641"/>
              <a:gd name="connsiteY15" fmla="*/ 753364 h 988996"/>
              <a:gd name="connsiteX16" fmla="*/ 44937 w 1524641"/>
              <a:gd name="connsiteY16" fmla="*/ 702875 h 988996"/>
              <a:gd name="connsiteX17" fmla="*/ 151524 w 1524641"/>
              <a:gd name="connsiteY17" fmla="*/ 492507 h 988996"/>
              <a:gd name="connsiteX18" fmla="*/ 367502 w 1524641"/>
              <a:gd name="connsiteY18" fmla="*/ 251285 h 988996"/>
              <a:gd name="connsiteX19" fmla="*/ 695676 w 1524641"/>
              <a:gd name="connsiteY19" fmla="*/ 26893 h 988996"/>
              <a:gd name="connsiteX20" fmla="*/ 723725 w 1524641"/>
              <a:gd name="connsiteY20" fmla="*/ 1646 h 988996"/>
              <a:gd name="connsiteX21" fmla="*/ 757384 w 1524641"/>
              <a:gd name="connsiteY21" fmla="*/ 4453 h 988996"/>
              <a:gd name="connsiteX22" fmla="*/ 796653 w 1524641"/>
              <a:gd name="connsiteY22" fmla="*/ 26892 h 988996"/>
              <a:gd name="connsiteX0" fmla="*/ 796653 w 1521707"/>
              <a:gd name="connsiteY0" fmla="*/ 26892 h 988996"/>
              <a:gd name="connsiteX1" fmla="*/ 1012630 w 1521707"/>
              <a:gd name="connsiteY1" fmla="*/ 155917 h 988996"/>
              <a:gd name="connsiteX2" fmla="*/ 1192145 w 1521707"/>
              <a:gd name="connsiteY2" fmla="*/ 304578 h 988996"/>
              <a:gd name="connsiteX3" fmla="*/ 1318365 w 1521707"/>
              <a:gd name="connsiteY3" fmla="*/ 450432 h 988996"/>
              <a:gd name="connsiteX4" fmla="*/ 1436172 w 1521707"/>
              <a:gd name="connsiteY4" fmla="*/ 618728 h 988996"/>
              <a:gd name="connsiteX5" fmla="*/ 1478245 w 1521707"/>
              <a:gd name="connsiteY5" fmla="*/ 722508 h 988996"/>
              <a:gd name="connsiteX6" fmla="*/ 1503489 w 1521707"/>
              <a:gd name="connsiteY6" fmla="*/ 801046 h 988996"/>
              <a:gd name="connsiteX7" fmla="*/ 1520742 w 1521707"/>
              <a:gd name="connsiteY7" fmla="*/ 879583 h 988996"/>
              <a:gd name="connsiteX8" fmla="*/ 1458771 w 1521707"/>
              <a:gd name="connsiteY8" fmla="*/ 901601 h 988996"/>
              <a:gd name="connsiteX9" fmla="*/ 1138850 w 1521707"/>
              <a:gd name="connsiteY9" fmla="*/ 966536 h 988996"/>
              <a:gd name="connsiteX10" fmla="*/ 788238 w 1521707"/>
              <a:gd name="connsiteY10" fmla="*/ 988976 h 988996"/>
              <a:gd name="connsiteX11" fmla="*/ 415185 w 1521707"/>
              <a:gd name="connsiteY11" fmla="*/ 969340 h 988996"/>
              <a:gd name="connsiteX12" fmla="*/ 148719 w 1521707"/>
              <a:gd name="connsiteY12" fmla="*/ 913243 h 988996"/>
              <a:gd name="connsiteX13" fmla="*/ 22497 w 1521707"/>
              <a:gd name="connsiteY13" fmla="*/ 873974 h 988996"/>
              <a:gd name="connsiteX14" fmla="*/ 59 w 1521707"/>
              <a:gd name="connsiteY14" fmla="*/ 868365 h 988996"/>
              <a:gd name="connsiteX15" fmla="*/ 25303 w 1521707"/>
              <a:gd name="connsiteY15" fmla="*/ 753364 h 988996"/>
              <a:gd name="connsiteX16" fmla="*/ 44937 w 1521707"/>
              <a:gd name="connsiteY16" fmla="*/ 702875 h 988996"/>
              <a:gd name="connsiteX17" fmla="*/ 151524 w 1521707"/>
              <a:gd name="connsiteY17" fmla="*/ 492507 h 988996"/>
              <a:gd name="connsiteX18" fmla="*/ 367502 w 1521707"/>
              <a:gd name="connsiteY18" fmla="*/ 251285 h 988996"/>
              <a:gd name="connsiteX19" fmla="*/ 695676 w 1521707"/>
              <a:gd name="connsiteY19" fmla="*/ 26893 h 988996"/>
              <a:gd name="connsiteX20" fmla="*/ 723725 w 1521707"/>
              <a:gd name="connsiteY20" fmla="*/ 1646 h 988996"/>
              <a:gd name="connsiteX21" fmla="*/ 757384 w 1521707"/>
              <a:gd name="connsiteY21" fmla="*/ 4453 h 988996"/>
              <a:gd name="connsiteX22" fmla="*/ 796653 w 1521707"/>
              <a:gd name="connsiteY22" fmla="*/ 26892 h 988996"/>
              <a:gd name="connsiteX0" fmla="*/ 799008 w 1524062"/>
              <a:gd name="connsiteY0" fmla="*/ 26892 h 988996"/>
              <a:gd name="connsiteX1" fmla="*/ 1014985 w 1524062"/>
              <a:gd name="connsiteY1" fmla="*/ 155917 h 988996"/>
              <a:gd name="connsiteX2" fmla="*/ 1194500 w 1524062"/>
              <a:gd name="connsiteY2" fmla="*/ 304578 h 988996"/>
              <a:gd name="connsiteX3" fmla="*/ 1320720 w 1524062"/>
              <a:gd name="connsiteY3" fmla="*/ 450432 h 988996"/>
              <a:gd name="connsiteX4" fmla="*/ 1438527 w 1524062"/>
              <a:gd name="connsiteY4" fmla="*/ 618728 h 988996"/>
              <a:gd name="connsiteX5" fmla="*/ 1480600 w 1524062"/>
              <a:gd name="connsiteY5" fmla="*/ 722508 h 988996"/>
              <a:gd name="connsiteX6" fmla="*/ 1505844 w 1524062"/>
              <a:gd name="connsiteY6" fmla="*/ 801046 h 988996"/>
              <a:gd name="connsiteX7" fmla="*/ 1523097 w 1524062"/>
              <a:gd name="connsiteY7" fmla="*/ 879583 h 988996"/>
              <a:gd name="connsiteX8" fmla="*/ 1461126 w 1524062"/>
              <a:gd name="connsiteY8" fmla="*/ 901601 h 988996"/>
              <a:gd name="connsiteX9" fmla="*/ 1141205 w 1524062"/>
              <a:gd name="connsiteY9" fmla="*/ 966536 h 988996"/>
              <a:gd name="connsiteX10" fmla="*/ 790593 w 1524062"/>
              <a:gd name="connsiteY10" fmla="*/ 988976 h 988996"/>
              <a:gd name="connsiteX11" fmla="*/ 417540 w 1524062"/>
              <a:gd name="connsiteY11" fmla="*/ 969340 h 988996"/>
              <a:gd name="connsiteX12" fmla="*/ 151074 w 1524062"/>
              <a:gd name="connsiteY12" fmla="*/ 913243 h 988996"/>
              <a:gd name="connsiteX13" fmla="*/ 24852 w 1524062"/>
              <a:gd name="connsiteY13" fmla="*/ 873974 h 988996"/>
              <a:gd name="connsiteX14" fmla="*/ 33 w 1524062"/>
              <a:gd name="connsiteY14" fmla="*/ 858840 h 988996"/>
              <a:gd name="connsiteX15" fmla="*/ 27658 w 1524062"/>
              <a:gd name="connsiteY15" fmla="*/ 753364 h 988996"/>
              <a:gd name="connsiteX16" fmla="*/ 47292 w 1524062"/>
              <a:gd name="connsiteY16" fmla="*/ 702875 h 988996"/>
              <a:gd name="connsiteX17" fmla="*/ 153879 w 1524062"/>
              <a:gd name="connsiteY17" fmla="*/ 492507 h 988996"/>
              <a:gd name="connsiteX18" fmla="*/ 369857 w 1524062"/>
              <a:gd name="connsiteY18" fmla="*/ 251285 h 988996"/>
              <a:gd name="connsiteX19" fmla="*/ 698031 w 1524062"/>
              <a:gd name="connsiteY19" fmla="*/ 26893 h 988996"/>
              <a:gd name="connsiteX20" fmla="*/ 726080 w 1524062"/>
              <a:gd name="connsiteY20" fmla="*/ 1646 h 988996"/>
              <a:gd name="connsiteX21" fmla="*/ 759739 w 1524062"/>
              <a:gd name="connsiteY21" fmla="*/ 4453 h 988996"/>
              <a:gd name="connsiteX22" fmla="*/ 799008 w 1524062"/>
              <a:gd name="connsiteY22" fmla="*/ 26892 h 988996"/>
              <a:gd name="connsiteX0" fmla="*/ 799484 w 1524538"/>
              <a:gd name="connsiteY0" fmla="*/ 26892 h 988996"/>
              <a:gd name="connsiteX1" fmla="*/ 1015461 w 1524538"/>
              <a:gd name="connsiteY1" fmla="*/ 155917 h 988996"/>
              <a:gd name="connsiteX2" fmla="*/ 1194976 w 1524538"/>
              <a:gd name="connsiteY2" fmla="*/ 304578 h 988996"/>
              <a:gd name="connsiteX3" fmla="*/ 1321196 w 1524538"/>
              <a:gd name="connsiteY3" fmla="*/ 450432 h 988996"/>
              <a:gd name="connsiteX4" fmla="*/ 1439003 w 1524538"/>
              <a:gd name="connsiteY4" fmla="*/ 618728 h 988996"/>
              <a:gd name="connsiteX5" fmla="*/ 1481076 w 1524538"/>
              <a:gd name="connsiteY5" fmla="*/ 722508 h 988996"/>
              <a:gd name="connsiteX6" fmla="*/ 1506320 w 1524538"/>
              <a:gd name="connsiteY6" fmla="*/ 801046 h 988996"/>
              <a:gd name="connsiteX7" fmla="*/ 1523573 w 1524538"/>
              <a:gd name="connsiteY7" fmla="*/ 879583 h 988996"/>
              <a:gd name="connsiteX8" fmla="*/ 1461602 w 1524538"/>
              <a:gd name="connsiteY8" fmla="*/ 901601 h 988996"/>
              <a:gd name="connsiteX9" fmla="*/ 1141681 w 1524538"/>
              <a:gd name="connsiteY9" fmla="*/ 966536 h 988996"/>
              <a:gd name="connsiteX10" fmla="*/ 791069 w 1524538"/>
              <a:gd name="connsiteY10" fmla="*/ 988976 h 988996"/>
              <a:gd name="connsiteX11" fmla="*/ 418016 w 1524538"/>
              <a:gd name="connsiteY11" fmla="*/ 969340 h 988996"/>
              <a:gd name="connsiteX12" fmla="*/ 151550 w 1524538"/>
              <a:gd name="connsiteY12" fmla="*/ 913243 h 988996"/>
              <a:gd name="connsiteX13" fmla="*/ 25328 w 1524538"/>
              <a:gd name="connsiteY13" fmla="*/ 873974 h 988996"/>
              <a:gd name="connsiteX14" fmla="*/ 509 w 1524538"/>
              <a:gd name="connsiteY14" fmla="*/ 858840 h 988996"/>
              <a:gd name="connsiteX15" fmla="*/ 28134 w 1524538"/>
              <a:gd name="connsiteY15" fmla="*/ 753364 h 988996"/>
              <a:gd name="connsiteX16" fmla="*/ 47768 w 1524538"/>
              <a:gd name="connsiteY16" fmla="*/ 702875 h 988996"/>
              <a:gd name="connsiteX17" fmla="*/ 154355 w 1524538"/>
              <a:gd name="connsiteY17" fmla="*/ 492507 h 988996"/>
              <a:gd name="connsiteX18" fmla="*/ 370333 w 1524538"/>
              <a:gd name="connsiteY18" fmla="*/ 251285 h 988996"/>
              <a:gd name="connsiteX19" fmla="*/ 698507 w 1524538"/>
              <a:gd name="connsiteY19" fmla="*/ 26893 h 988996"/>
              <a:gd name="connsiteX20" fmla="*/ 726556 w 1524538"/>
              <a:gd name="connsiteY20" fmla="*/ 1646 h 988996"/>
              <a:gd name="connsiteX21" fmla="*/ 760215 w 1524538"/>
              <a:gd name="connsiteY21" fmla="*/ 4453 h 988996"/>
              <a:gd name="connsiteX22" fmla="*/ 799484 w 1524538"/>
              <a:gd name="connsiteY22" fmla="*/ 26892 h 98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524538" h="988996">
                <a:moveTo>
                  <a:pt x="799484" y="26892"/>
                </a:moveTo>
                <a:cubicBezTo>
                  <a:pt x="842025" y="52136"/>
                  <a:pt x="941598" y="104961"/>
                  <a:pt x="1015461" y="155917"/>
                </a:cubicBezTo>
                <a:cubicBezTo>
                  <a:pt x="1089324" y="206873"/>
                  <a:pt x="1144020" y="255492"/>
                  <a:pt x="1194976" y="304578"/>
                </a:cubicBezTo>
                <a:cubicBezTo>
                  <a:pt x="1245932" y="353664"/>
                  <a:pt x="1280525" y="398074"/>
                  <a:pt x="1321196" y="450432"/>
                </a:cubicBezTo>
                <a:cubicBezTo>
                  <a:pt x="1361867" y="502790"/>
                  <a:pt x="1412356" y="573382"/>
                  <a:pt x="1439003" y="618728"/>
                </a:cubicBezTo>
                <a:cubicBezTo>
                  <a:pt x="1465650" y="664074"/>
                  <a:pt x="1469857" y="692122"/>
                  <a:pt x="1481076" y="722508"/>
                </a:cubicBezTo>
                <a:cubicBezTo>
                  <a:pt x="1492295" y="752894"/>
                  <a:pt x="1496971" y="774867"/>
                  <a:pt x="1506320" y="801046"/>
                </a:cubicBezTo>
                <a:cubicBezTo>
                  <a:pt x="1515669" y="827225"/>
                  <a:pt x="1520301" y="866961"/>
                  <a:pt x="1523573" y="879583"/>
                </a:cubicBezTo>
                <a:cubicBezTo>
                  <a:pt x="1526845" y="892205"/>
                  <a:pt x="1525251" y="887109"/>
                  <a:pt x="1461602" y="901601"/>
                </a:cubicBezTo>
                <a:cubicBezTo>
                  <a:pt x="1397953" y="916093"/>
                  <a:pt x="1267434" y="946902"/>
                  <a:pt x="1141681" y="966536"/>
                </a:cubicBezTo>
                <a:cubicBezTo>
                  <a:pt x="889706" y="991780"/>
                  <a:pt x="911680" y="988509"/>
                  <a:pt x="791069" y="988976"/>
                </a:cubicBezTo>
                <a:cubicBezTo>
                  <a:pt x="670458" y="989443"/>
                  <a:pt x="524602" y="981962"/>
                  <a:pt x="418016" y="969340"/>
                </a:cubicBezTo>
                <a:cubicBezTo>
                  <a:pt x="311430" y="956718"/>
                  <a:pt x="216998" y="929137"/>
                  <a:pt x="151550" y="913243"/>
                </a:cubicBezTo>
                <a:cubicBezTo>
                  <a:pt x="86102" y="897349"/>
                  <a:pt x="77219" y="895479"/>
                  <a:pt x="25328" y="873974"/>
                </a:cubicBezTo>
                <a:cubicBezTo>
                  <a:pt x="4291" y="866494"/>
                  <a:pt x="4803" y="862273"/>
                  <a:pt x="509" y="858840"/>
                </a:cubicBezTo>
                <a:cubicBezTo>
                  <a:pt x="-3785" y="855407"/>
                  <a:pt x="20257" y="779358"/>
                  <a:pt x="28134" y="753364"/>
                </a:cubicBezTo>
                <a:cubicBezTo>
                  <a:pt x="36011" y="727370"/>
                  <a:pt x="26731" y="746351"/>
                  <a:pt x="47768" y="702875"/>
                </a:cubicBezTo>
                <a:cubicBezTo>
                  <a:pt x="68805" y="659399"/>
                  <a:pt x="100594" y="567772"/>
                  <a:pt x="154355" y="492507"/>
                </a:cubicBezTo>
                <a:cubicBezTo>
                  <a:pt x="208116" y="417242"/>
                  <a:pt x="288523" y="324212"/>
                  <a:pt x="370333" y="251285"/>
                </a:cubicBezTo>
                <a:cubicBezTo>
                  <a:pt x="452143" y="178358"/>
                  <a:pt x="639137" y="68500"/>
                  <a:pt x="698507" y="26893"/>
                </a:cubicBezTo>
                <a:cubicBezTo>
                  <a:pt x="757878" y="-14714"/>
                  <a:pt x="716271" y="5386"/>
                  <a:pt x="726556" y="1646"/>
                </a:cubicBezTo>
                <a:cubicBezTo>
                  <a:pt x="736841" y="-2094"/>
                  <a:pt x="748995" y="2583"/>
                  <a:pt x="760215" y="4453"/>
                </a:cubicBezTo>
                <a:cubicBezTo>
                  <a:pt x="764890" y="2116"/>
                  <a:pt x="756943" y="1648"/>
                  <a:pt x="799484" y="26892"/>
                </a:cubicBezTo>
                <a:close/>
              </a:path>
            </a:pathLst>
          </a:custGeom>
          <a:solidFill>
            <a:srgbClr val="0F71B9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6" name="Seta para a direita 15"/>
          <p:cNvSpPr/>
          <p:nvPr/>
        </p:nvSpPr>
        <p:spPr bwMode="auto">
          <a:xfrm rot="19404679">
            <a:off x="2730821" y="4111579"/>
            <a:ext cx="1149260" cy="763411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000" b="1" u="none" dirty="0">
                <a:latin typeface="Arial" charset="0"/>
                <a:cs typeface="+mn-cs"/>
              </a:rPr>
              <a:t>     </a:t>
            </a:r>
            <a:r>
              <a:rPr lang="pt-BR" sz="1000" b="1" u="none" dirty="0" smtClean="0">
                <a:latin typeface="Arial" charset="0"/>
                <a:cs typeface="+mn-cs"/>
              </a:rPr>
              <a:t>Prestação de Serviços</a:t>
            </a:r>
            <a:endParaRPr lang="en-US" sz="1000" b="1" u="none" dirty="0">
              <a:latin typeface="Arial" charset="0"/>
              <a:cs typeface="+mn-cs"/>
            </a:endParaRPr>
          </a:p>
        </p:txBody>
      </p:sp>
      <p:sp>
        <p:nvSpPr>
          <p:cNvPr id="21" name="Seta para a direita 20"/>
          <p:cNvSpPr/>
          <p:nvPr/>
        </p:nvSpPr>
        <p:spPr bwMode="auto">
          <a:xfrm rot="13458986" flipV="1">
            <a:off x="5186549" y="4243534"/>
            <a:ext cx="1220924" cy="783509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000" b="1" u="none" dirty="0">
                <a:solidFill>
                  <a:schemeClr val="dk1"/>
                </a:solidFill>
                <a:latin typeface="Arial" charset="0"/>
                <a:cs typeface="+mn-cs"/>
              </a:rPr>
              <a:t>   </a:t>
            </a:r>
            <a:r>
              <a:rPr lang="pt-BR" sz="1000" b="1" u="none" dirty="0" smtClean="0">
                <a:latin typeface="Arial" charset="0"/>
              </a:rPr>
              <a:t>Prestação</a:t>
            </a:r>
            <a:r>
              <a:rPr lang="pt-BR" sz="1000" b="1" u="none" dirty="0" smtClean="0">
                <a:solidFill>
                  <a:schemeClr val="dk1"/>
                </a:solidFill>
                <a:latin typeface="Arial" charset="0"/>
                <a:cs typeface="+mn-cs"/>
              </a:rPr>
              <a:t> de Serviços</a:t>
            </a:r>
            <a:endParaRPr lang="en-US" sz="1000" b="1" u="none" dirty="0">
              <a:solidFill>
                <a:schemeClr val="dk1"/>
              </a:solidFill>
              <a:latin typeface="Arial" charset="0"/>
              <a:cs typeface="+mn-cs"/>
            </a:endParaRPr>
          </a:p>
        </p:txBody>
      </p:sp>
      <p:sp>
        <p:nvSpPr>
          <p:cNvPr id="22" name="Seta para a direita 21"/>
          <p:cNvSpPr/>
          <p:nvPr/>
        </p:nvSpPr>
        <p:spPr bwMode="auto">
          <a:xfrm rot="5400000" flipV="1">
            <a:off x="3992124" y="2391698"/>
            <a:ext cx="1107628" cy="934341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000" b="1" u="none" dirty="0" smtClean="0">
                <a:solidFill>
                  <a:schemeClr val="tx1"/>
                </a:solidFill>
                <a:latin typeface="Arial" charset="0"/>
              </a:rPr>
              <a:t>Demanda -   Necessidade de Serviços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338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Template D&amp;O">
  <a:themeElements>
    <a:clrScheme name="14_Custom Design 3">
      <a:dk1>
        <a:srgbClr val="132647"/>
      </a:dk1>
      <a:lt1>
        <a:srgbClr val="FFFFFF"/>
      </a:lt1>
      <a:dk2>
        <a:srgbClr val="F3DC99"/>
      </a:dk2>
      <a:lt2>
        <a:srgbClr val="717D91"/>
      </a:lt2>
      <a:accent1>
        <a:srgbClr val="A1A8B5"/>
      </a:accent1>
      <a:accent2>
        <a:srgbClr val="C7BEBB"/>
      </a:accent2>
      <a:accent3>
        <a:srgbClr val="FFFFFF"/>
      </a:accent3>
      <a:accent4>
        <a:srgbClr val="0E1F3B"/>
      </a:accent4>
      <a:accent5>
        <a:srgbClr val="CDD1D7"/>
      </a:accent5>
      <a:accent6>
        <a:srgbClr val="B4ACA9"/>
      </a:accent6>
      <a:hlink>
        <a:srgbClr val="9FB8E5"/>
      </a:hlink>
      <a:folHlink>
        <a:srgbClr val="F9EECC"/>
      </a:folHlink>
    </a:clrScheme>
    <a:fontScheme name="14_Custom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Custom Design 1">
        <a:dk1>
          <a:srgbClr val="132647"/>
        </a:dk1>
        <a:lt1>
          <a:srgbClr val="FFFFFF"/>
        </a:lt1>
        <a:dk2>
          <a:srgbClr val="C40811"/>
        </a:dk2>
        <a:lt2>
          <a:srgbClr val="9FB8E5"/>
        </a:lt2>
        <a:accent1>
          <a:srgbClr val="E7B933"/>
        </a:accent1>
        <a:accent2>
          <a:srgbClr val="42516C"/>
        </a:accent2>
        <a:accent3>
          <a:srgbClr val="FFFFFF"/>
        </a:accent3>
        <a:accent4>
          <a:srgbClr val="0E1F3B"/>
        </a:accent4>
        <a:accent5>
          <a:srgbClr val="F1D9AD"/>
        </a:accent5>
        <a:accent6>
          <a:srgbClr val="3B4961"/>
        </a:accent6>
        <a:hlink>
          <a:srgbClr val="C7BEB6"/>
        </a:hlink>
        <a:folHlink>
          <a:srgbClr val="4F8B6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2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42516C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3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9FB8E5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4801F036D6E942B1645C0DEAD1DD69" ma:contentTypeVersion="0" ma:contentTypeDescription="Create a new document." ma:contentTypeScope="" ma:versionID="52570ff392785c1ac75e0ddb54185b4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01DD0D5-7E31-46C5-AC51-BC192B297A36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C21ACAD-0FD9-4887-8D73-99842DF178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EBBC0D3-9939-4750-8AF9-F6B986C051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D&amp;O</Template>
  <TotalTime>2247</TotalTime>
  <Words>661</Words>
  <Application>Microsoft Office PowerPoint</Application>
  <PresentationFormat>Apresentação na tela (4:3)</PresentationFormat>
  <Paragraphs>146</Paragraphs>
  <Slides>1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16" baseType="lpstr">
      <vt:lpstr>Template D&amp;O</vt:lpstr>
      <vt:lpstr>think-cell Slide</vt:lpstr>
      <vt:lpstr>Apresentação do PowerPoint</vt:lpstr>
      <vt:lpstr>Apresentação do PowerPoint</vt:lpstr>
      <vt:lpstr>Alguns Números </vt:lpstr>
      <vt:lpstr>Atividades de Manufatura em que multinacionais brasileiras atuam</vt:lpstr>
      <vt:lpstr>Desafios</vt:lpstr>
      <vt:lpstr>Grande parte da Solução</vt:lpstr>
      <vt:lpstr>Apresentação do PowerPoint</vt:lpstr>
      <vt:lpstr>Desafios e Soluções</vt:lpstr>
      <vt:lpstr>Cliente x Corretor x Segurador</vt:lpstr>
      <vt:lpstr>Apresentação do PowerPoint</vt:lpstr>
      <vt:lpstr>Tendências e Linhas de Seguros</vt:lpstr>
      <vt:lpstr>Desenvolvimento Profissional/Carreira</vt:lpstr>
      <vt:lpstr>Apresentação do PowerPoint</vt:lpstr>
      <vt:lpstr>Apresentação do PowerPoint</vt:lpstr>
    </vt:vector>
  </TitlesOfParts>
  <Company>Will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rat</dc:creator>
  <cp:lastModifiedBy>Petroucic, Caio</cp:lastModifiedBy>
  <cp:revision>91</cp:revision>
  <cp:lastPrinted>2012-11-26T15:53:29Z</cp:lastPrinted>
  <dcterms:created xsi:type="dcterms:W3CDTF">2014-02-28T14:29:53Z</dcterms:created>
  <dcterms:modified xsi:type="dcterms:W3CDTF">2015-10-22T17:5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4801F036D6E942B1645C0DEAD1DD69</vt:lpwstr>
  </property>
  <property fmtid="{D5CDD505-2E9C-101B-9397-08002B2CF9AE}" pid="4" name="_NewReviewCycle">
    <vt:lpwstr/>
  </property>
</Properties>
</file>